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3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</p:sldMasterIdLst>
  <p:notesMasterIdLst>
    <p:notesMasterId r:id="rId27"/>
  </p:notesMasterIdLst>
  <p:handoutMasterIdLst>
    <p:handoutMasterId r:id="rId28"/>
  </p:handoutMasterIdLst>
  <p:sldIdLst>
    <p:sldId id="1229" r:id="rId2"/>
    <p:sldId id="1322" r:id="rId3"/>
    <p:sldId id="1321" r:id="rId4"/>
    <p:sldId id="1323" r:id="rId5"/>
    <p:sldId id="1324" r:id="rId6"/>
    <p:sldId id="1325" r:id="rId7"/>
    <p:sldId id="1326" r:id="rId8"/>
    <p:sldId id="1327" r:id="rId9"/>
    <p:sldId id="1329" r:id="rId10"/>
    <p:sldId id="1331" r:id="rId11"/>
    <p:sldId id="1332" r:id="rId12"/>
    <p:sldId id="1334" r:id="rId13"/>
    <p:sldId id="1333" r:id="rId14"/>
    <p:sldId id="1335" r:id="rId15"/>
    <p:sldId id="1337" r:id="rId16"/>
    <p:sldId id="1336" r:id="rId17"/>
    <p:sldId id="1338" r:id="rId18"/>
    <p:sldId id="1340" r:id="rId19"/>
    <p:sldId id="1341" r:id="rId20"/>
    <p:sldId id="1342" r:id="rId21"/>
    <p:sldId id="1344" r:id="rId22"/>
    <p:sldId id="1343" r:id="rId23"/>
    <p:sldId id="1339" r:id="rId24"/>
    <p:sldId id="1345" r:id="rId25"/>
    <p:sldId id="1346" r:id="rId26"/>
  </p:sldIdLst>
  <p:sldSz cx="9906000" cy="6858000" type="A4"/>
  <p:notesSz cx="6794500" cy="9931400"/>
  <p:custShowLst>
    <p:custShow name="Custom Show 1" id="0">
      <p:sldLst/>
    </p:custShow>
  </p:custShow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460D"/>
    <a:srgbClr val="FC815A"/>
    <a:srgbClr val="1FF51F"/>
    <a:srgbClr val="FFDA65"/>
    <a:srgbClr val="F892F1"/>
    <a:srgbClr val="FFCC00"/>
    <a:srgbClr val="FFCC66"/>
    <a:srgbClr val="91F979"/>
    <a:srgbClr val="B1E987"/>
    <a:srgbClr val="F11B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211" autoAdjust="0"/>
    <p:restoredTop sz="95252" autoAdjust="0"/>
  </p:normalViewPr>
  <p:slideViewPr>
    <p:cSldViewPr>
      <p:cViewPr>
        <p:scale>
          <a:sx n="100" d="100"/>
          <a:sy n="100" d="100"/>
        </p:scale>
        <p:origin x="-952" y="184"/>
      </p:cViewPr>
      <p:guideLst>
        <p:guide orient="horz" pos="617"/>
        <p:guide orient="horz" pos="3859"/>
        <p:guide orient="horz"/>
        <p:guide orient="horz" pos="906"/>
        <p:guide pos="6016"/>
        <p:guide pos="307"/>
        <p:guide pos="5813"/>
        <p:guide pos="21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61" d="100"/>
          <a:sy n="61" d="100"/>
        </p:scale>
        <p:origin x="-3402" y="-96"/>
      </p:cViewPr>
      <p:guideLst>
        <p:guide orient="horz" pos="3177"/>
        <p:guide pos="2136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notesMaster" Target="notesMasters/notesMaster1.xml"/><Relationship Id="rId28" Type="http://schemas.openxmlformats.org/officeDocument/2006/relationships/handoutMaster" Target="handoutMasters/handoutMaster1.xml"/><Relationship Id="rId29" Type="http://schemas.openxmlformats.org/officeDocument/2006/relationships/printerSettings" Target="printerSettings/printerSettings1.bin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commentAuthors" Target="commentAuthors.xml"/><Relationship Id="rId31" Type="http://schemas.openxmlformats.org/officeDocument/2006/relationships/presProps" Target="presProps.xml"/><Relationship Id="rId32" Type="http://schemas.openxmlformats.org/officeDocument/2006/relationships/viewProps" Target="viewProps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theme" Target="theme/theme1.xml"/><Relationship Id="rId34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/Relationships>
</file>

<file path=ppt/diagrams/_rels/data10.xml.rels><?xml version="1.0" encoding="UTF-8" standalone="yes"?>
<Relationships xmlns="http://schemas.openxmlformats.org/package/2006/relationships"><Relationship Id="rId1" Type="http://schemas.openxmlformats.org/officeDocument/2006/relationships/image" Target="../media/image40.png"/><Relationship Id="rId2" Type="http://schemas.openxmlformats.org/officeDocument/2006/relationships/image" Target="../media/image41.png"/></Relationships>
</file>

<file path=ppt/diagrams/_rels/data12.xml.rels><?xml version="1.0" encoding="UTF-8" standalone="yes"?>
<Relationships xmlns="http://schemas.openxmlformats.org/package/2006/relationships"><Relationship Id="rId1" Type="http://schemas.openxmlformats.org/officeDocument/2006/relationships/image" Target="../media/image47.jpeg"/></Relationships>
</file>

<file path=ppt/diagrams/_rels/data7.xml.rels><?xml version="1.0" encoding="UTF-8" standalone="yes"?>
<Relationships xmlns="http://schemas.openxmlformats.org/package/2006/relationships"><Relationship Id="rId1" Type="http://schemas.openxmlformats.org/officeDocument/2006/relationships/image" Target="../media/image25.jpeg"/><Relationship Id="rId2" Type="http://schemas.openxmlformats.org/officeDocument/2006/relationships/image" Target="../media/image31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#1">
  <dgm:title val=""/>
  <dgm:desc val=""/>
  <dgm:catLst>
    <dgm:cat type="colorful" pri="10500"/>
  </dgm:catLst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#7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#8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#9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#10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#4">
  <dgm:title val=""/>
  <dgm:desc val=""/>
  <dgm:catLst>
    <dgm:cat type="colorful" pri="10100"/>
  </dgm:catLst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#2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#3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#4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#5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#6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1E827B3-6136-431B-AA5A-D4ECD6D9B891}" type="doc">
      <dgm:prSet loTypeId="urn:microsoft.com/office/officeart/2005/8/layout/vList2#1" loCatId="list" qsTypeId="urn:microsoft.com/office/officeart/2005/8/quickstyle/simple1#1" qsCatId="simple" csTypeId="urn:microsoft.com/office/officeart/2005/8/colors/colorful5#1" csCatId="colorful" phldr="1"/>
      <dgm:spPr/>
      <dgm:t>
        <a:bodyPr/>
        <a:lstStyle/>
        <a:p>
          <a:endParaRPr lang="es-ES"/>
        </a:p>
      </dgm:t>
    </dgm:pt>
    <dgm:pt modelId="{FA9FF030-AEAD-49ED-80A2-1CB509724B8B}">
      <dgm:prSet phldrT="[Texto]"/>
      <dgm:spPr/>
      <dgm:t>
        <a:bodyPr/>
        <a:lstStyle/>
        <a:p>
          <a:r>
            <a:rPr lang="es-ES" b="1" dirty="0" smtClean="0">
              <a:solidFill>
                <a:srgbClr val="000000"/>
              </a:solidFill>
              <a:latin typeface="Optane"/>
            </a:rPr>
            <a:t>General Principles </a:t>
          </a:r>
          <a:r>
            <a:rPr lang="zh-CN" altLang="en-US" b="1" dirty="0" smtClean="0">
              <a:solidFill>
                <a:srgbClr val="000000"/>
              </a:solidFill>
              <a:latin typeface="Optane"/>
            </a:rPr>
            <a:t>总则</a:t>
          </a:r>
          <a:endParaRPr lang="es-ES" b="1" dirty="0">
            <a:solidFill>
              <a:srgbClr val="000000"/>
            </a:solidFill>
            <a:latin typeface="Optane"/>
          </a:endParaRPr>
        </a:p>
      </dgm:t>
    </dgm:pt>
    <dgm:pt modelId="{DA1FA610-991E-45C9-B6BF-56C29C73D56F}" type="parTrans" cxnId="{6AAC8BBB-C878-4BA5-82CC-C985A3113D61}">
      <dgm:prSet/>
      <dgm:spPr/>
      <dgm:t>
        <a:bodyPr/>
        <a:lstStyle/>
        <a:p>
          <a:endParaRPr lang="es-ES"/>
        </a:p>
      </dgm:t>
    </dgm:pt>
    <dgm:pt modelId="{E62B9E24-F76D-4C8C-B704-9325AE3296E0}" type="sibTrans" cxnId="{6AAC8BBB-C878-4BA5-82CC-C985A3113D61}">
      <dgm:prSet/>
      <dgm:spPr/>
      <dgm:t>
        <a:bodyPr/>
        <a:lstStyle/>
        <a:p>
          <a:endParaRPr lang="es-ES"/>
        </a:p>
      </dgm:t>
    </dgm:pt>
    <dgm:pt modelId="{5A27512B-BD5A-4ADC-A079-70978061B8DA}">
      <dgm:prSet phldrT="[Texto]"/>
      <dgm:spPr/>
      <dgm:t>
        <a:bodyPr/>
        <a:lstStyle/>
        <a:p>
          <a:r>
            <a:rPr lang="es-ES" b="1" dirty="0" smtClean="0">
              <a:solidFill>
                <a:srgbClr val="000000"/>
              </a:solidFill>
              <a:latin typeface="Optane"/>
            </a:rPr>
            <a:t>Material </a:t>
          </a:r>
          <a:r>
            <a:rPr lang="es-ES" b="1" dirty="0" err="1" smtClean="0">
              <a:solidFill>
                <a:srgbClr val="000000"/>
              </a:solidFill>
              <a:latin typeface="Optane"/>
            </a:rPr>
            <a:t>Scope</a:t>
          </a:r>
          <a:r>
            <a:rPr lang="es-ES" b="1" dirty="0" smtClean="0">
              <a:solidFill>
                <a:srgbClr val="000000"/>
              </a:solidFill>
              <a:latin typeface="Optane"/>
            </a:rPr>
            <a:t> </a:t>
          </a:r>
          <a:r>
            <a:rPr lang="zh-CN" altLang="en-US" b="1" dirty="0" smtClean="0">
              <a:solidFill>
                <a:srgbClr val="000000"/>
              </a:solidFill>
              <a:latin typeface="Optane"/>
            </a:rPr>
            <a:t>适用物体范围</a:t>
          </a:r>
          <a:endParaRPr lang="es-ES" b="1" dirty="0">
            <a:solidFill>
              <a:srgbClr val="000000"/>
            </a:solidFill>
            <a:latin typeface="Optane"/>
          </a:endParaRPr>
        </a:p>
      </dgm:t>
    </dgm:pt>
    <dgm:pt modelId="{9DBC3B0C-5A6A-47A0-8FF1-2EA284DC1F09}" type="parTrans" cxnId="{D814E5C8-2F19-4F08-AE0B-8EAA37ECD557}">
      <dgm:prSet/>
      <dgm:spPr/>
      <dgm:t>
        <a:bodyPr/>
        <a:lstStyle/>
        <a:p>
          <a:endParaRPr lang="es-ES"/>
        </a:p>
      </dgm:t>
    </dgm:pt>
    <dgm:pt modelId="{1A87B3ED-C268-4990-AFD8-CFD5419FBF4C}" type="sibTrans" cxnId="{D814E5C8-2F19-4F08-AE0B-8EAA37ECD557}">
      <dgm:prSet/>
      <dgm:spPr/>
      <dgm:t>
        <a:bodyPr/>
        <a:lstStyle/>
        <a:p>
          <a:endParaRPr lang="es-ES"/>
        </a:p>
      </dgm:t>
    </dgm:pt>
    <dgm:pt modelId="{4CD3C53D-B715-486F-8E61-8B375A3878AA}">
      <dgm:prSet/>
      <dgm:spPr/>
      <dgm:t>
        <a:bodyPr/>
        <a:lstStyle/>
        <a:p>
          <a:r>
            <a:rPr lang="es-ES" b="1" dirty="0" smtClean="0">
              <a:solidFill>
                <a:srgbClr val="000000"/>
              </a:solidFill>
              <a:latin typeface="Optane"/>
            </a:rPr>
            <a:t>Member States </a:t>
          </a:r>
          <a:r>
            <a:rPr lang="zh-CN" altLang="en-US" b="1" dirty="0" smtClean="0">
              <a:solidFill>
                <a:srgbClr val="000000"/>
              </a:solidFill>
              <a:latin typeface="Optane"/>
            </a:rPr>
            <a:t>成员国</a:t>
          </a:r>
          <a:endParaRPr lang="es-ES" b="1" dirty="0">
            <a:solidFill>
              <a:srgbClr val="000000"/>
            </a:solidFill>
            <a:latin typeface="Optane"/>
          </a:endParaRPr>
        </a:p>
      </dgm:t>
    </dgm:pt>
    <dgm:pt modelId="{61A8F358-0D32-47D0-B328-644FBC95F3F9}" type="parTrans" cxnId="{EE5BA94B-1851-455A-BC8D-739547DE8706}">
      <dgm:prSet/>
      <dgm:spPr/>
      <dgm:t>
        <a:bodyPr/>
        <a:lstStyle/>
        <a:p>
          <a:endParaRPr lang="es-ES"/>
        </a:p>
      </dgm:t>
    </dgm:pt>
    <dgm:pt modelId="{B05BD275-E526-49ED-BC2B-54A200EA647E}" type="sibTrans" cxnId="{EE5BA94B-1851-455A-BC8D-739547DE8706}">
      <dgm:prSet/>
      <dgm:spPr/>
      <dgm:t>
        <a:bodyPr/>
        <a:lstStyle/>
        <a:p>
          <a:endParaRPr lang="es-ES"/>
        </a:p>
      </dgm:t>
    </dgm:pt>
    <dgm:pt modelId="{772B24A3-15AC-4071-93ED-9FE38EBB4D24}">
      <dgm:prSet/>
      <dgm:spPr/>
      <dgm:t>
        <a:bodyPr/>
        <a:lstStyle/>
        <a:p>
          <a:r>
            <a:rPr lang="es-ES" b="1" dirty="0" smtClean="0">
              <a:solidFill>
                <a:srgbClr val="000000"/>
              </a:solidFill>
              <a:latin typeface="Optane"/>
            </a:rPr>
            <a:t>Personal </a:t>
          </a:r>
          <a:r>
            <a:rPr lang="es-ES" b="1" dirty="0" err="1" smtClean="0">
              <a:solidFill>
                <a:srgbClr val="000000"/>
              </a:solidFill>
              <a:latin typeface="Optane"/>
            </a:rPr>
            <a:t>Scope</a:t>
          </a:r>
          <a:r>
            <a:rPr lang="es-ES" b="1" dirty="0" smtClean="0">
              <a:solidFill>
                <a:srgbClr val="000000"/>
              </a:solidFill>
              <a:latin typeface="Optane"/>
            </a:rPr>
            <a:t> </a:t>
          </a:r>
          <a:r>
            <a:rPr lang="zh-CN" altLang="en-US" b="1" dirty="0" smtClean="0">
              <a:solidFill>
                <a:srgbClr val="000000"/>
              </a:solidFill>
              <a:latin typeface="Optane"/>
            </a:rPr>
            <a:t>适用个体范围</a:t>
          </a:r>
          <a:endParaRPr lang="es-ES" b="1" dirty="0">
            <a:solidFill>
              <a:srgbClr val="000000"/>
            </a:solidFill>
            <a:latin typeface="Optane"/>
          </a:endParaRPr>
        </a:p>
      </dgm:t>
    </dgm:pt>
    <dgm:pt modelId="{2B82F22A-509B-40FB-8845-EBCA1F6FD7D3}" type="parTrans" cxnId="{858805F6-3FB1-4D47-9A22-0C626B5D3D49}">
      <dgm:prSet/>
      <dgm:spPr/>
      <dgm:t>
        <a:bodyPr/>
        <a:lstStyle/>
        <a:p>
          <a:endParaRPr lang="es-ES"/>
        </a:p>
      </dgm:t>
    </dgm:pt>
    <dgm:pt modelId="{56A6F59E-888D-4CD4-9E20-260E18DEA923}" type="sibTrans" cxnId="{858805F6-3FB1-4D47-9A22-0C626B5D3D49}">
      <dgm:prSet/>
      <dgm:spPr/>
      <dgm:t>
        <a:bodyPr/>
        <a:lstStyle/>
        <a:p>
          <a:endParaRPr lang="es-ES"/>
        </a:p>
      </dgm:t>
    </dgm:pt>
    <dgm:pt modelId="{6AE43605-3BFB-464B-B45B-1C30159BF368}">
      <dgm:prSet/>
      <dgm:spPr/>
      <dgm:t>
        <a:bodyPr/>
        <a:lstStyle/>
        <a:p>
          <a:r>
            <a:rPr lang="es-ES" b="1" dirty="0" smtClean="0">
              <a:solidFill>
                <a:srgbClr val="000000"/>
              </a:solidFill>
              <a:latin typeface="Optane"/>
            </a:rPr>
            <a:t>Special provisions for the different categories of benefits </a:t>
          </a:r>
          <a:r>
            <a:rPr lang="zh-CN" altLang="en-US" b="1" dirty="0" smtClean="0">
              <a:solidFill>
                <a:srgbClr val="000000"/>
              </a:solidFill>
              <a:latin typeface="Optane"/>
            </a:rPr>
            <a:t>不同种类福利的特别条款</a:t>
          </a:r>
          <a:endParaRPr lang="es-ES" b="1" dirty="0">
            <a:solidFill>
              <a:srgbClr val="000000"/>
            </a:solidFill>
            <a:latin typeface="Optane"/>
          </a:endParaRPr>
        </a:p>
      </dgm:t>
    </dgm:pt>
    <dgm:pt modelId="{A9A65576-DDCF-43EE-AB81-4E4C0CCB37B1}" type="parTrans" cxnId="{2EA056FB-78B2-40E2-9DB4-CBA59A90684B}">
      <dgm:prSet/>
      <dgm:spPr/>
      <dgm:t>
        <a:bodyPr/>
        <a:lstStyle/>
        <a:p>
          <a:endParaRPr lang="es-ES"/>
        </a:p>
      </dgm:t>
    </dgm:pt>
    <dgm:pt modelId="{379D0191-4304-4944-9B71-AC5A3C6FAA74}" type="sibTrans" cxnId="{2EA056FB-78B2-40E2-9DB4-CBA59A90684B}">
      <dgm:prSet/>
      <dgm:spPr/>
      <dgm:t>
        <a:bodyPr/>
        <a:lstStyle/>
        <a:p>
          <a:endParaRPr lang="es-ES"/>
        </a:p>
      </dgm:t>
    </dgm:pt>
    <dgm:pt modelId="{34AF9538-32ED-4636-B481-AFD838363357}">
      <dgm:prSet/>
      <dgm:spPr/>
      <dgm:t>
        <a:bodyPr/>
        <a:lstStyle/>
        <a:p>
          <a:r>
            <a:rPr lang="es-ES" b="1" dirty="0" smtClean="0">
              <a:solidFill>
                <a:srgbClr val="000000"/>
              </a:solidFill>
              <a:latin typeface="Optane"/>
            </a:rPr>
            <a:t>Applicable </a:t>
          </a:r>
          <a:r>
            <a:rPr lang="es-ES" b="1" dirty="0" err="1" smtClean="0">
              <a:solidFill>
                <a:srgbClr val="000000"/>
              </a:solidFill>
              <a:latin typeface="Optane"/>
            </a:rPr>
            <a:t>legislation</a:t>
          </a:r>
          <a:r>
            <a:rPr lang="es-ES" b="1" dirty="0" smtClean="0">
              <a:solidFill>
                <a:srgbClr val="000000"/>
              </a:solidFill>
              <a:latin typeface="Optane"/>
            </a:rPr>
            <a:t> </a:t>
          </a:r>
          <a:r>
            <a:rPr lang="es-ES" b="1" dirty="0" err="1" smtClean="0">
              <a:solidFill>
                <a:srgbClr val="000000"/>
              </a:solidFill>
              <a:latin typeface="Optane"/>
            </a:rPr>
            <a:t>适用</a:t>
          </a:r>
          <a:r>
            <a:rPr lang="zh-CN" altLang="en-US" b="1" dirty="0" smtClean="0">
              <a:solidFill>
                <a:srgbClr val="000000"/>
              </a:solidFill>
              <a:latin typeface="Optane"/>
            </a:rPr>
            <a:t>法律</a:t>
          </a:r>
          <a:endParaRPr lang="es-ES" b="1" dirty="0">
            <a:solidFill>
              <a:srgbClr val="000000"/>
            </a:solidFill>
            <a:latin typeface="Optane"/>
          </a:endParaRPr>
        </a:p>
      </dgm:t>
    </dgm:pt>
    <dgm:pt modelId="{48701593-D32E-4DBD-B13C-A563693B47F8}" type="sibTrans" cxnId="{B90BF065-6247-4164-93B0-210957EE3F9A}">
      <dgm:prSet/>
      <dgm:spPr/>
      <dgm:t>
        <a:bodyPr/>
        <a:lstStyle/>
        <a:p>
          <a:endParaRPr lang="es-ES"/>
        </a:p>
      </dgm:t>
    </dgm:pt>
    <dgm:pt modelId="{799B1D54-EFBA-4979-ABF4-65B17EA9CF84}" type="parTrans" cxnId="{B90BF065-6247-4164-93B0-210957EE3F9A}">
      <dgm:prSet/>
      <dgm:spPr/>
      <dgm:t>
        <a:bodyPr/>
        <a:lstStyle/>
        <a:p>
          <a:endParaRPr lang="es-ES"/>
        </a:p>
      </dgm:t>
    </dgm:pt>
    <dgm:pt modelId="{67EFF7AF-85C0-41AA-A660-E0C23EB46D6D}" type="pres">
      <dgm:prSet presAssocID="{41E827B3-6136-431B-AA5A-D4ECD6D9B891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7CF31778-395C-4460-B9B9-6C3C289260F4}" type="pres">
      <dgm:prSet presAssocID="{FA9FF030-AEAD-49ED-80A2-1CB509724B8B}" presName="parentText" presStyleLbl="node1" presStyleIdx="0" presStyleCnt="6" custLinFactNeighborY="-65611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8195159-5E4C-4FB1-A9DD-CF5BB879D261}" type="pres">
      <dgm:prSet presAssocID="{E62B9E24-F76D-4C8C-B704-9325AE3296E0}" presName="spacer" presStyleCnt="0"/>
      <dgm:spPr/>
    </dgm:pt>
    <dgm:pt modelId="{6B1E82F1-E723-4AFD-B831-9AD199687FE6}" type="pres">
      <dgm:prSet presAssocID="{4CD3C53D-B715-486F-8E61-8B375A3878AA}" presName="parentText" presStyleLbl="node1" presStyleIdx="1" presStyleCnt="6" custLinFactNeighborX="-796" custLinFactNeighborY="-52664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81AF4ED-B4E3-43A3-BA01-423D265ED297}" type="pres">
      <dgm:prSet presAssocID="{B05BD275-E526-49ED-BC2B-54A200EA647E}" presName="spacer" presStyleCnt="0"/>
      <dgm:spPr/>
    </dgm:pt>
    <dgm:pt modelId="{6EEEE49C-6274-4FE2-BF86-5029C637B1C5}" type="pres">
      <dgm:prSet presAssocID="{772B24A3-15AC-4071-93ED-9FE38EBB4D24}" presName="parentText" presStyleLbl="node1" presStyleIdx="2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EABDDCD-A61F-49DB-90E7-695AEBD76145}" type="pres">
      <dgm:prSet presAssocID="{56A6F59E-888D-4CD4-9E20-260E18DEA923}" presName="spacer" presStyleCnt="0"/>
      <dgm:spPr/>
    </dgm:pt>
    <dgm:pt modelId="{C88C906A-D673-4354-A485-F224A1C138B2}" type="pres">
      <dgm:prSet presAssocID="{5A27512B-BD5A-4ADC-A079-70978061B8DA}" presName="parentText" presStyleLbl="node1" presStyleIdx="3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5DBACB3-41F5-4F69-80C4-B58CF08DB849}" type="pres">
      <dgm:prSet presAssocID="{1A87B3ED-C268-4990-AFD8-CFD5419FBF4C}" presName="spacer" presStyleCnt="0"/>
      <dgm:spPr/>
    </dgm:pt>
    <dgm:pt modelId="{FC41F6E2-C8A5-4E19-9D56-E810733BC4F9}" type="pres">
      <dgm:prSet presAssocID="{34AF9538-32ED-4636-B481-AFD838363357}" presName="parentText" presStyleLbl="node1" presStyleIdx="4" presStyleCnt="6" custLinFactNeighborX="-796" custLinFactNeighborY="46176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F8E79189-9FA1-4E32-890D-7865D95DBCD1}" type="pres">
      <dgm:prSet presAssocID="{48701593-D32E-4DBD-B13C-A563693B47F8}" presName="spacer" presStyleCnt="0"/>
      <dgm:spPr/>
    </dgm:pt>
    <dgm:pt modelId="{50BFAC55-3680-4636-A056-33304A451222}" type="pres">
      <dgm:prSet presAssocID="{6AE43605-3BFB-464B-B45B-1C30159BF368}" presName="parentText" presStyleLbl="node1" presStyleIdx="5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82300885-E461-441B-BC89-2FAEC209B933}" type="presOf" srcId="{4CD3C53D-B715-486F-8E61-8B375A3878AA}" destId="{6B1E82F1-E723-4AFD-B831-9AD199687FE6}" srcOrd="0" destOrd="0" presId="urn:microsoft.com/office/officeart/2005/8/layout/vList2#1"/>
    <dgm:cxn modelId="{EE5BA94B-1851-455A-BC8D-739547DE8706}" srcId="{41E827B3-6136-431B-AA5A-D4ECD6D9B891}" destId="{4CD3C53D-B715-486F-8E61-8B375A3878AA}" srcOrd="1" destOrd="0" parTransId="{61A8F358-0D32-47D0-B328-644FBC95F3F9}" sibTransId="{B05BD275-E526-49ED-BC2B-54A200EA647E}"/>
    <dgm:cxn modelId="{C5847D0D-5251-41A0-9054-7AF79D17C586}" type="presOf" srcId="{41E827B3-6136-431B-AA5A-D4ECD6D9B891}" destId="{67EFF7AF-85C0-41AA-A660-E0C23EB46D6D}" srcOrd="0" destOrd="0" presId="urn:microsoft.com/office/officeart/2005/8/layout/vList2#1"/>
    <dgm:cxn modelId="{2EA056FB-78B2-40E2-9DB4-CBA59A90684B}" srcId="{41E827B3-6136-431B-AA5A-D4ECD6D9B891}" destId="{6AE43605-3BFB-464B-B45B-1C30159BF368}" srcOrd="5" destOrd="0" parTransId="{A9A65576-DDCF-43EE-AB81-4E4C0CCB37B1}" sibTransId="{379D0191-4304-4944-9B71-AC5A3C6FAA74}"/>
    <dgm:cxn modelId="{6AAC8BBB-C878-4BA5-82CC-C985A3113D61}" srcId="{41E827B3-6136-431B-AA5A-D4ECD6D9B891}" destId="{FA9FF030-AEAD-49ED-80A2-1CB509724B8B}" srcOrd="0" destOrd="0" parTransId="{DA1FA610-991E-45C9-B6BF-56C29C73D56F}" sibTransId="{E62B9E24-F76D-4C8C-B704-9325AE3296E0}"/>
    <dgm:cxn modelId="{68A9A216-3655-4B22-885F-2A66B8C666A1}" type="presOf" srcId="{6AE43605-3BFB-464B-B45B-1C30159BF368}" destId="{50BFAC55-3680-4636-A056-33304A451222}" srcOrd="0" destOrd="0" presId="urn:microsoft.com/office/officeart/2005/8/layout/vList2#1"/>
    <dgm:cxn modelId="{858805F6-3FB1-4D47-9A22-0C626B5D3D49}" srcId="{41E827B3-6136-431B-AA5A-D4ECD6D9B891}" destId="{772B24A3-15AC-4071-93ED-9FE38EBB4D24}" srcOrd="2" destOrd="0" parTransId="{2B82F22A-509B-40FB-8845-EBCA1F6FD7D3}" sibTransId="{56A6F59E-888D-4CD4-9E20-260E18DEA923}"/>
    <dgm:cxn modelId="{AAC17E82-51FD-459A-80D1-75976BDFD37F}" type="presOf" srcId="{5A27512B-BD5A-4ADC-A079-70978061B8DA}" destId="{C88C906A-D673-4354-A485-F224A1C138B2}" srcOrd="0" destOrd="0" presId="urn:microsoft.com/office/officeart/2005/8/layout/vList2#1"/>
    <dgm:cxn modelId="{C2F95F52-20B5-42F2-B69A-B8DBE6C28D88}" type="presOf" srcId="{FA9FF030-AEAD-49ED-80A2-1CB509724B8B}" destId="{7CF31778-395C-4460-B9B9-6C3C289260F4}" srcOrd="0" destOrd="0" presId="urn:microsoft.com/office/officeart/2005/8/layout/vList2#1"/>
    <dgm:cxn modelId="{D814E5C8-2F19-4F08-AE0B-8EAA37ECD557}" srcId="{41E827B3-6136-431B-AA5A-D4ECD6D9B891}" destId="{5A27512B-BD5A-4ADC-A079-70978061B8DA}" srcOrd="3" destOrd="0" parTransId="{9DBC3B0C-5A6A-47A0-8FF1-2EA284DC1F09}" sibTransId="{1A87B3ED-C268-4990-AFD8-CFD5419FBF4C}"/>
    <dgm:cxn modelId="{B90BF065-6247-4164-93B0-210957EE3F9A}" srcId="{41E827B3-6136-431B-AA5A-D4ECD6D9B891}" destId="{34AF9538-32ED-4636-B481-AFD838363357}" srcOrd="4" destOrd="0" parTransId="{799B1D54-EFBA-4979-ABF4-65B17EA9CF84}" sibTransId="{48701593-D32E-4DBD-B13C-A563693B47F8}"/>
    <dgm:cxn modelId="{86CC9197-47F9-4E6C-ADFF-102484DCA02F}" type="presOf" srcId="{772B24A3-15AC-4071-93ED-9FE38EBB4D24}" destId="{6EEEE49C-6274-4FE2-BF86-5029C637B1C5}" srcOrd="0" destOrd="0" presId="urn:microsoft.com/office/officeart/2005/8/layout/vList2#1"/>
    <dgm:cxn modelId="{AC9D9436-CB4E-413B-BC8C-2CC2BEB515F9}" type="presOf" srcId="{34AF9538-32ED-4636-B481-AFD838363357}" destId="{FC41F6E2-C8A5-4E19-9D56-E810733BC4F9}" srcOrd="0" destOrd="0" presId="urn:microsoft.com/office/officeart/2005/8/layout/vList2#1"/>
    <dgm:cxn modelId="{1367EB78-5DAF-476B-BC03-5BC302449B5B}" type="presParOf" srcId="{67EFF7AF-85C0-41AA-A660-E0C23EB46D6D}" destId="{7CF31778-395C-4460-B9B9-6C3C289260F4}" srcOrd="0" destOrd="0" presId="urn:microsoft.com/office/officeart/2005/8/layout/vList2#1"/>
    <dgm:cxn modelId="{35998E9C-4774-4BEC-B070-8360EF295CEC}" type="presParOf" srcId="{67EFF7AF-85C0-41AA-A660-E0C23EB46D6D}" destId="{D8195159-5E4C-4FB1-A9DD-CF5BB879D261}" srcOrd="1" destOrd="0" presId="urn:microsoft.com/office/officeart/2005/8/layout/vList2#1"/>
    <dgm:cxn modelId="{AFA91DB1-4DCE-4439-8442-0096F425C57D}" type="presParOf" srcId="{67EFF7AF-85C0-41AA-A660-E0C23EB46D6D}" destId="{6B1E82F1-E723-4AFD-B831-9AD199687FE6}" srcOrd="2" destOrd="0" presId="urn:microsoft.com/office/officeart/2005/8/layout/vList2#1"/>
    <dgm:cxn modelId="{9EA68B35-62D3-4035-BFD9-68FF7E36AA93}" type="presParOf" srcId="{67EFF7AF-85C0-41AA-A660-E0C23EB46D6D}" destId="{C81AF4ED-B4E3-43A3-BA01-423D265ED297}" srcOrd="3" destOrd="0" presId="urn:microsoft.com/office/officeart/2005/8/layout/vList2#1"/>
    <dgm:cxn modelId="{CDFA3AD2-9147-4223-9450-704D1CFB477E}" type="presParOf" srcId="{67EFF7AF-85C0-41AA-A660-E0C23EB46D6D}" destId="{6EEEE49C-6274-4FE2-BF86-5029C637B1C5}" srcOrd="4" destOrd="0" presId="urn:microsoft.com/office/officeart/2005/8/layout/vList2#1"/>
    <dgm:cxn modelId="{335690D1-1222-4174-959C-E4ADA06FC469}" type="presParOf" srcId="{67EFF7AF-85C0-41AA-A660-E0C23EB46D6D}" destId="{CEABDDCD-A61F-49DB-90E7-695AEBD76145}" srcOrd="5" destOrd="0" presId="urn:microsoft.com/office/officeart/2005/8/layout/vList2#1"/>
    <dgm:cxn modelId="{49FA87B3-76F0-4D80-BB35-40F9215FEE2D}" type="presParOf" srcId="{67EFF7AF-85C0-41AA-A660-E0C23EB46D6D}" destId="{C88C906A-D673-4354-A485-F224A1C138B2}" srcOrd="6" destOrd="0" presId="urn:microsoft.com/office/officeart/2005/8/layout/vList2#1"/>
    <dgm:cxn modelId="{B099E720-49A2-47F6-9FB1-9352A8E88928}" type="presParOf" srcId="{67EFF7AF-85C0-41AA-A660-E0C23EB46D6D}" destId="{25DBACB3-41F5-4F69-80C4-B58CF08DB849}" srcOrd="7" destOrd="0" presId="urn:microsoft.com/office/officeart/2005/8/layout/vList2#1"/>
    <dgm:cxn modelId="{FF513371-97EB-433D-9527-61300ECA1A78}" type="presParOf" srcId="{67EFF7AF-85C0-41AA-A660-E0C23EB46D6D}" destId="{FC41F6E2-C8A5-4E19-9D56-E810733BC4F9}" srcOrd="8" destOrd="0" presId="urn:microsoft.com/office/officeart/2005/8/layout/vList2#1"/>
    <dgm:cxn modelId="{E0D8BD27-438B-4F3F-AD52-DA113FFDE8D8}" type="presParOf" srcId="{67EFF7AF-85C0-41AA-A660-E0C23EB46D6D}" destId="{F8E79189-9FA1-4E32-890D-7865D95DBCD1}" srcOrd="9" destOrd="0" presId="urn:microsoft.com/office/officeart/2005/8/layout/vList2#1"/>
    <dgm:cxn modelId="{8D65F4A5-1DC6-4610-8368-E67BDB7A4627}" type="presParOf" srcId="{67EFF7AF-85C0-41AA-A660-E0C23EB46D6D}" destId="{50BFAC55-3680-4636-A056-33304A451222}" srcOrd="10" destOrd="0" presId="urn:microsoft.com/office/officeart/2005/8/layout/vList2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424B43A7-DED6-4B65-BBB7-595700BFE17C}" type="doc">
      <dgm:prSet loTypeId="urn:microsoft.com/office/officeart/2005/8/layout/vList4" loCatId="list" qsTypeId="urn:microsoft.com/office/officeart/2005/8/quickstyle/simple1#8" qsCatId="simple" csTypeId="urn:microsoft.com/office/officeart/2005/8/colors/accent1_2#7" csCatId="accent1" phldr="1"/>
      <dgm:spPr/>
      <dgm:t>
        <a:bodyPr/>
        <a:lstStyle/>
        <a:p>
          <a:endParaRPr lang="es-ES"/>
        </a:p>
      </dgm:t>
    </dgm:pt>
    <dgm:pt modelId="{7D0F53E3-4B0F-4FF0-9ECF-EA8D0A3D6B41}">
      <dgm:prSet phldrT="[Texto]" custT="1"/>
      <dgm:spPr>
        <a:solidFill>
          <a:schemeClr val="accent5">
            <a:lumMod val="20000"/>
            <a:lumOff val="80000"/>
          </a:schemeClr>
        </a:solidFill>
      </dgm:spPr>
      <dgm:t>
        <a:bodyPr/>
        <a:lstStyle/>
        <a:p>
          <a:r>
            <a:rPr lang="es-ES" sz="2000" b="1" dirty="0" smtClean="0">
              <a:solidFill>
                <a:schemeClr val="tx1"/>
              </a:solidFill>
              <a:latin typeface="Optane"/>
            </a:rPr>
            <a:t>EXPORT OF UNEMPLOYMENT BENEFITS</a:t>
          </a:r>
        </a:p>
        <a:p>
          <a:r>
            <a:rPr lang="zh-CN" altLang="en-US" sz="2000" b="1" dirty="0" smtClean="0">
              <a:solidFill>
                <a:schemeClr val="tx1"/>
              </a:solidFill>
              <a:latin typeface="Optane"/>
            </a:rPr>
            <a:t>失业津贴输出</a:t>
          </a:r>
          <a:endParaRPr lang="es-ES" sz="2000" b="1" dirty="0">
            <a:solidFill>
              <a:schemeClr val="tx1"/>
            </a:solidFill>
            <a:latin typeface="Optane"/>
          </a:endParaRPr>
        </a:p>
      </dgm:t>
    </dgm:pt>
    <dgm:pt modelId="{24A366EF-4CC3-4FAA-A3FE-B01D4FFE9B9A}" type="parTrans" cxnId="{449CBECE-446F-4BB8-AD4E-50F94882BB8D}">
      <dgm:prSet/>
      <dgm:spPr/>
      <dgm:t>
        <a:bodyPr/>
        <a:lstStyle/>
        <a:p>
          <a:endParaRPr lang="es-ES"/>
        </a:p>
      </dgm:t>
    </dgm:pt>
    <dgm:pt modelId="{91801AB5-C8AC-410D-8536-4DFF9288C947}" type="sibTrans" cxnId="{449CBECE-446F-4BB8-AD4E-50F94882BB8D}">
      <dgm:prSet/>
      <dgm:spPr/>
      <dgm:t>
        <a:bodyPr/>
        <a:lstStyle/>
        <a:p>
          <a:endParaRPr lang="es-ES"/>
        </a:p>
      </dgm:t>
    </dgm:pt>
    <dgm:pt modelId="{06F1B3EC-F710-4808-8AEE-DFB18048CF6B}">
      <dgm:prSet phldrT="[Texto]" custT="1"/>
      <dgm:spPr>
        <a:solidFill>
          <a:schemeClr val="accent5">
            <a:lumMod val="20000"/>
            <a:lumOff val="80000"/>
          </a:schemeClr>
        </a:solidFill>
      </dgm:spPr>
      <dgm:t>
        <a:bodyPr/>
        <a:lstStyle/>
        <a:p>
          <a:r>
            <a:rPr lang="es-ES" sz="2000" dirty="0" smtClean="0">
              <a:solidFill>
                <a:schemeClr val="tx1"/>
              </a:solidFill>
              <a:latin typeface="Optane"/>
            </a:rPr>
            <a:t>Registration as jobseeker in MS </a:t>
          </a:r>
          <a:r>
            <a:rPr lang="zh-CN" altLang="en-US" sz="2000" dirty="0" smtClean="0">
              <a:solidFill>
                <a:schemeClr val="tx1"/>
              </a:solidFill>
              <a:latin typeface="Optane"/>
            </a:rPr>
            <a:t>在</a:t>
          </a:r>
          <a:r>
            <a:rPr lang="en-US" altLang="zh-CN" sz="2000" dirty="0" smtClean="0">
              <a:solidFill>
                <a:schemeClr val="tx1"/>
              </a:solidFill>
              <a:latin typeface="Optane"/>
            </a:rPr>
            <a:t>MS</a:t>
          </a:r>
          <a:r>
            <a:rPr lang="zh-CN" altLang="en-US" sz="2000" dirty="0" smtClean="0">
              <a:solidFill>
                <a:schemeClr val="tx1"/>
              </a:solidFill>
              <a:latin typeface="Optane"/>
            </a:rPr>
            <a:t>注册为求职者</a:t>
          </a:r>
          <a:endParaRPr lang="es-ES" sz="2000" dirty="0">
            <a:solidFill>
              <a:schemeClr val="tx1"/>
            </a:solidFill>
            <a:latin typeface="Optane"/>
          </a:endParaRPr>
        </a:p>
      </dgm:t>
    </dgm:pt>
    <dgm:pt modelId="{36ACB999-98B1-46E5-AA3C-D0948BF91CAE}" type="parTrans" cxnId="{711881C2-DEB8-44FA-8125-844FDDEC82FB}">
      <dgm:prSet/>
      <dgm:spPr/>
      <dgm:t>
        <a:bodyPr/>
        <a:lstStyle/>
        <a:p>
          <a:endParaRPr lang="es-ES"/>
        </a:p>
      </dgm:t>
    </dgm:pt>
    <dgm:pt modelId="{78306A26-B387-4F15-AEBC-E32F1B882886}" type="sibTrans" cxnId="{711881C2-DEB8-44FA-8125-844FDDEC82FB}">
      <dgm:prSet/>
      <dgm:spPr/>
      <dgm:t>
        <a:bodyPr/>
        <a:lstStyle/>
        <a:p>
          <a:endParaRPr lang="es-ES"/>
        </a:p>
      </dgm:t>
    </dgm:pt>
    <dgm:pt modelId="{B2E90EAA-45A3-4428-85AF-475A4F166DBA}">
      <dgm:prSet phldrT="[Texto]" custT="1"/>
      <dgm:spPr>
        <a:solidFill>
          <a:schemeClr val="accent5">
            <a:lumMod val="20000"/>
            <a:lumOff val="80000"/>
          </a:schemeClr>
        </a:solidFill>
      </dgm:spPr>
      <dgm:t>
        <a:bodyPr/>
        <a:lstStyle/>
        <a:p>
          <a:r>
            <a:rPr lang="es-ES" sz="2000" dirty="0" err="1" smtClean="0">
              <a:solidFill>
                <a:schemeClr val="tx1"/>
              </a:solidFill>
              <a:latin typeface="Optane"/>
            </a:rPr>
            <a:t>Maximum</a:t>
          </a:r>
          <a:r>
            <a:rPr lang="es-ES" sz="2000" dirty="0" smtClean="0">
              <a:solidFill>
                <a:schemeClr val="tx1"/>
              </a:solidFill>
              <a:latin typeface="Optane"/>
            </a:rPr>
            <a:t> </a:t>
          </a:r>
          <a:r>
            <a:rPr lang="es-ES" sz="2000" dirty="0" err="1" smtClean="0">
              <a:solidFill>
                <a:schemeClr val="tx1"/>
              </a:solidFill>
              <a:latin typeface="Optane"/>
            </a:rPr>
            <a:t>length</a:t>
          </a:r>
          <a:r>
            <a:rPr lang="es-ES" sz="2000" dirty="0" smtClean="0">
              <a:solidFill>
                <a:schemeClr val="tx1"/>
              </a:solidFill>
              <a:latin typeface="Optane"/>
            </a:rPr>
            <a:t> 3-6 </a:t>
          </a:r>
          <a:r>
            <a:rPr lang="es-ES" sz="2000" dirty="0" err="1" smtClean="0">
              <a:solidFill>
                <a:schemeClr val="tx1"/>
              </a:solidFill>
              <a:latin typeface="Optane"/>
            </a:rPr>
            <a:t>months</a:t>
          </a:r>
          <a:endParaRPr lang="es-ES" sz="2000" dirty="0">
            <a:solidFill>
              <a:schemeClr val="tx1"/>
            </a:solidFill>
            <a:latin typeface="Optane"/>
          </a:endParaRPr>
        </a:p>
      </dgm:t>
    </dgm:pt>
    <dgm:pt modelId="{63C2C05E-3FF1-4D8E-8E6C-008F641D021C}" type="parTrans" cxnId="{4C82D502-7EDF-4C3B-A347-98A75D3C4AFC}">
      <dgm:prSet/>
      <dgm:spPr/>
      <dgm:t>
        <a:bodyPr/>
        <a:lstStyle/>
        <a:p>
          <a:endParaRPr lang="es-ES"/>
        </a:p>
      </dgm:t>
    </dgm:pt>
    <dgm:pt modelId="{FB742E00-91C3-47C4-8B97-2083B343188B}" type="sibTrans" cxnId="{4C82D502-7EDF-4C3B-A347-98A75D3C4AFC}">
      <dgm:prSet/>
      <dgm:spPr/>
      <dgm:t>
        <a:bodyPr/>
        <a:lstStyle/>
        <a:p>
          <a:endParaRPr lang="es-ES"/>
        </a:p>
      </dgm:t>
    </dgm:pt>
    <dgm:pt modelId="{5B528D27-F7BF-491F-AF75-E1763A7741BD}">
      <dgm:prSet phldrT="[Texto]" custT="1"/>
      <dgm:spPr>
        <a:solidFill>
          <a:srgbClr val="B1E987"/>
        </a:solidFill>
      </dgm:spPr>
      <dgm:t>
        <a:bodyPr/>
        <a:lstStyle/>
        <a:p>
          <a:r>
            <a:rPr lang="es-ES" sz="2400" b="1" dirty="0" smtClean="0">
              <a:solidFill>
                <a:schemeClr val="tx1"/>
              </a:solidFill>
              <a:latin typeface="Optane"/>
            </a:rPr>
            <a:t>UNEMPLOYMENT BENEFITS FOR FRONTIER WORKERS </a:t>
          </a:r>
          <a:r>
            <a:rPr lang="zh-CN" altLang="en-US" sz="2400" b="1" dirty="0" smtClean="0">
              <a:solidFill>
                <a:schemeClr val="tx1"/>
              </a:solidFill>
              <a:latin typeface="Optane"/>
            </a:rPr>
            <a:t>边境工人失业津贴</a:t>
          </a:r>
          <a:endParaRPr lang="es-ES" sz="2400" b="1" dirty="0">
            <a:solidFill>
              <a:schemeClr val="tx1"/>
            </a:solidFill>
            <a:latin typeface="Optane"/>
          </a:endParaRPr>
        </a:p>
      </dgm:t>
    </dgm:pt>
    <dgm:pt modelId="{EC99DCEE-14D2-4D60-9301-59508F7A2B1C}" type="parTrans" cxnId="{C17F5DD9-75B0-4683-81D3-3600BC85C9BE}">
      <dgm:prSet/>
      <dgm:spPr/>
      <dgm:t>
        <a:bodyPr/>
        <a:lstStyle/>
        <a:p>
          <a:endParaRPr lang="es-ES"/>
        </a:p>
      </dgm:t>
    </dgm:pt>
    <dgm:pt modelId="{0DEE6C8D-09FF-47B6-B720-46C0E2BCB825}" type="sibTrans" cxnId="{C17F5DD9-75B0-4683-81D3-3600BC85C9BE}">
      <dgm:prSet/>
      <dgm:spPr/>
      <dgm:t>
        <a:bodyPr/>
        <a:lstStyle/>
        <a:p>
          <a:endParaRPr lang="es-ES"/>
        </a:p>
      </dgm:t>
    </dgm:pt>
    <dgm:pt modelId="{EF0E9821-083F-4477-A127-BCB692AD636E}">
      <dgm:prSet phldrT="[Texto]" custT="1"/>
      <dgm:spPr>
        <a:solidFill>
          <a:srgbClr val="B1E987"/>
        </a:solidFill>
      </dgm:spPr>
      <dgm:t>
        <a:bodyPr/>
        <a:lstStyle/>
        <a:p>
          <a:r>
            <a:rPr lang="es-ES" sz="2400" dirty="0" smtClean="0">
              <a:solidFill>
                <a:schemeClr val="tx1"/>
              </a:solidFill>
              <a:latin typeface="Optane"/>
            </a:rPr>
            <a:t>Payment by the MS of residence </a:t>
          </a:r>
          <a:r>
            <a:rPr lang="zh-CN" altLang="en-US" sz="2400" dirty="0" smtClean="0">
              <a:solidFill>
                <a:schemeClr val="tx1"/>
              </a:solidFill>
              <a:latin typeface="Optane"/>
            </a:rPr>
            <a:t>有居民</a:t>
          </a:r>
          <a:r>
            <a:rPr lang="en-US" altLang="zh-CN" sz="2400" dirty="0" smtClean="0">
              <a:solidFill>
                <a:schemeClr val="tx1"/>
              </a:solidFill>
              <a:latin typeface="Optane"/>
            </a:rPr>
            <a:t>MS</a:t>
          </a:r>
          <a:r>
            <a:rPr lang="zh-CN" altLang="en-US" sz="2400" dirty="0" smtClean="0">
              <a:solidFill>
                <a:schemeClr val="tx1"/>
              </a:solidFill>
              <a:latin typeface="Optane"/>
            </a:rPr>
            <a:t>支付</a:t>
          </a:r>
          <a:endParaRPr lang="es-ES" sz="2400" dirty="0">
            <a:solidFill>
              <a:schemeClr val="tx1"/>
            </a:solidFill>
            <a:latin typeface="Optane"/>
          </a:endParaRPr>
        </a:p>
      </dgm:t>
    </dgm:pt>
    <dgm:pt modelId="{B59749BF-CD06-4817-BE67-F78CE77D7A89}" type="parTrans" cxnId="{8D494BF9-35CA-4361-9E1D-7A05BDD4B92E}">
      <dgm:prSet/>
      <dgm:spPr/>
      <dgm:t>
        <a:bodyPr/>
        <a:lstStyle/>
        <a:p>
          <a:endParaRPr lang="es-ES"/>
        </a:p>
      </dgm:t>
    </dgm:pt>
    <dgm:pt modelId="{C7A6A731-B004-4DDD-A0EA-6D744B64452B}" type="sibTrans" cxnId="{8D494BF9-35CA-4361-9E1D-7A05BDD4B92E}">
      <dgm:prSet/>
      <dgm:spPr/>
      <dgm:t>
        <a:bodyPr/>
        <a:lstStyle/>
        <a:p>
          <a:endParaRPr lang="es-ES"/>
        </a:p>
      </dgm:t>
    </dgm:pt>
    <dgm:pt modelId="{9AB8D013-112B-45F3-887E-9940D772E40D}">
      <dgm:prSet phldrT="[Texto]" custT="1"/>
      <dgm:spPr>
        <a:solidFill>
          <a:srgbClr val="B1E987"/>
        </a:solidFill>
      </dgm:spPr>
      <dgm:t>
        <a:bodyPr/>
        <a:lstStyle/>
        <a:p>
          <a:r>
            <a:rPr lang="es-ES" sz="2400" dirty="0" smtClean="0">
              <a:solidFill>
                <a:schemeClr val="tx1"/>
              </a:solidFill>
              <a:latin typeface="Optane"/>
            </a:rPr>
            <a:t>Reimbursement (3-5 months) by MS of last activity </a:t>
          </a:r>
          <a:r>
            <a:rPr lang="zh-CN" altLang="en-US" sz="2400" dirty="0" smtClean="0">
              <a:solidFill>
                <a:schemeClr val="tx1"/>
              </a:solidFill>
              <a:latin typeface="Optane"/>
            </a:rPr>
            <a:t>由上一活动的</a:t>
          </a:r>
          <a:r>
            <a:rPr lang="en-US" altLang="zh-CN" sz="2400" dirty="0" smtClean="0">
              <a:solidFill>
                <a:schemeClr val="tx1"/>
              </a:solidFill>
              <a:latin typeface="Optane"/>
            </a:rPr>
            <a:t>MS</a:t>
          </a:r>
          <a:r>
            <a:rPr lang="zh-CN" altLang="en-US" sz="2400" dirty="0" smtClean="0">
              <a:solidFill>
                <a:schemeClr val="tx1"/>
              </a:solidFill>
              <a:latin typeface="Optane"/>
            </a:rPr>
            <a:t>报销（</a:t>
          </a:r>
          <a:r>
            <a:rPr lang="en-US" altLang="zh-CN" sz="2400" dirty="0" smtClean="0">
              <a:solidFill>
                <a:schemeClr val="tx1"/>
              </a:solidFill>
              <a:latin typeface="Optane"/>
            </a:rPr>
            <a:t>3-5</a:t>
          </a:r>
          <a:r>
            <a:rPr lang="zh-CN" altLang="en-US" sz="2400" dirty="0" smtClean="0">
              <a:solidFill>
                <a:schemeClr val="tx1"/>
              </a:solidFill>
              <a:latin typeface="Optane"/>
            </a:rPr>
            <a:t>个月）</a:t>
          </a:r>
          <a:endParaRPr lang="es-ES" sz="2400" dirty="0">
            <a:solidFill>
              <a:schemeClr val="tx1"/>
            </a:solidFill>
            <a:latin typeface="Optane"/>
          </a:endParaRPr>
        </a:p>
      </dgm:t>
    </dgm:pt>
    <dgm:pt modelId="{FF7268D2-EFC2-4CFB-AD41-CAF18B52513B}" type="parTrans" cxnId="{B2DEC28E-C732-4F8D-9D01-4A1508BCC7A2}">
      <dgm:prSet/>
      <dgm:spPr/>
      <dgm:t>
        <a:bodyPr/>
        <a:lstStyle/>
        <a:p>
          <a:endParaRPr lang="es-ES"/>
        </a:p>
      </dgm:t>
    </dgm:pt>
    <dgm:pt modelId="{815B5BD5-14F7-4E52-A2AC-C5ACF222BB6B}" type="sibTrans" cxnId="{B2DEC28E-C732-4F8D-9D01-4A1508BCC7A2}">
      <dgm:prSet/>
      <dgm:spPr/>
      <dgm:t>
        <a:bodyPr/>
        <a:lstStyle/>
        <a:p>
          <a:endParaRPr lang="es-ES"/>
        </a:p>
      </dgm:t>
    </dgm:pt>
    <dgm:pt modelId="{CAB6DFAD-2784-4E6E-B577-825246C7FCA1}">
      <dgm:prSet phldrT="[Texto]" custT="1"/>
      <dgm:spPr>
        <a:solidFill>
          <a:schemeClr val="accent5">
            <a:lumMod val="20000"/>
            <a:lumOff val="80000"/>
          </a:schemeClr>
        </a:solidFill>
      </dgm:spPr>
      <dgm:t>
        <a:bodyPr/>
        <a:lstStyle/>
        <a:p>
          <a:endParaRPr lang="es-ES" sz="2400" dirty="0">
            <a:solidFill>
              <a:schemeClr val="tx1"/>
            </a:solidFill>
            <a:latin typeface="Optane"/>
          </a:endParaRPr>
        </a:p>
      </dgm:t>
    </dgm:pt>
    <dgm:pt modelId="{131C0B88-7BF0-49AE-A6A3-C044751C8EEA}" type="parTrans" cxnId="{20957049-5C58-40D0-B931-EFC2FA8E6F28}">
      <dgm:prSet/>
      <dgm:spPr/>
      <dgm:t>
        <a:bodyPr/>
        <a:lstStyle/>
        <a:p>
          <a:endParaRPr lang="es-ES"/>
        </a:p>
      </dgm:t>
    </dgm:pt>
    <dgm:pt modelId="{C9D18C0B-6972-40D8-9E67-141688791ED0}" type="sibTrans" cxnId="{20957049-5C58-40D0-B931-EFC2FA8E6F28}">
      <dgm:prSet/>
      <dgm:spPr/>
      <dgm:t>
        <a:bodyPr/>
        <a:lstStyle/>
        <a:p>
          <a:endParaRPr lang="es-ES"/>
        </a:p>
      </dgm:t>
    </dgm:pt>
    <dgm:pt modelId="{C4907A12-8640-4EA0-AB96-929837301854}">
      <dgm:prSet phldrT="[Texto]" custT="1"/>
      <dgm:spPr>
        <a:solidFill>
          <a:schemeClr val="accent5">
            <a:lumMod val="20000"/>
            <a:lumOff val="80000"/>
          </a:schemeClr>
        </a:solidFill>
      </dgm:spPr>
      <dgm:t>
        <a:bodyPr/>
        <a:lstStyle/>
        <a:p>
          <a:endParaRPr lang="es-ES" sz="2400" dirty="0">
            <a:solidFill>
              <a:schemeClr val="tx1"/>
            </a:solidFill>
            <a:latin typeface="Optane"/>
          </a:endParaRPr>
        </a:p>
      </dgm:t>
    </dgm:pt>
    <dgm:pt modelId="{59478F30-B3B4-4E21-9189-42C89F4E2607}" type="parTrans" cxnId="{86F4ED1F-79D5-497B-9845-01635D6D085C}">
      <dgm:prSet/>
      <dgm:spPr/>
      <dgm:t>
        <a:bodyPr/>
        <a:lstStyle/>
        <a:p>
          <a:endParaRPr lang="es-ES"/>
        </a:p>
      </dgm:t>
    </dgm:pt>
    <dgm:pt modelId="{BFFE82B5-B6E9-4D9D-B2C1-61290ED89DED}" type="sibTrans" cxnId="{86F4ED1F-79D5-497B-9845-01635D6D085C}">
      <dgm:prSet/>
      <dgm:spPr/>
      <dgm:t>
        <a:bodyPr/>
        <a:lstStyle/>
        <a:p>
          <a:endParaRPr lang="es-ES"/>
        </a:p>
      </dgm:t>
    </dgm:pt>
    <dgm:pt modelId="{285FA5A7-76C2-499B-B5DE-4EF73911BAED}">
      <dgm:prSet phldrT="[Texto]" custT="1"/>
      <dgm:spPr>
        <a:solidFill>
          <a:schemeClr val="accent5">
            <a:lumMod val="20000"/>
            <a:lumOff val="80000"/>
          </a:schemeClr>
        </a:solidFill>
      </dgm:spPr>
      <dgm:t>
        <a:bodyPr/>
        <a:lstStyle/>
        <a:p>
          <a:r>
            <a:rPr lang="zh-CN" altLang="en-US" sz="2000" dirty="0" smtClean="0">
              <a:solidFill>
                <a:schemeClr val="tx1"/>
              </a:solidFill>
              <a:latin typeface="Optane"/>
            </a:rPr>
            <a:t>最长期限 </a:t>
          </a:r>
          <a:r>
            <a:rPr lang="en-US" altLang="zh-CN" sz="2000" dirty="0" smtClean="0">
              <a:solidFill>
                <a:schemeClr val="tx1"/>
              </a:solidFill>
              <a:latin typeface="Optane"/>
            </a:rPr>
            <a:t>3-6</a:t>
          </a:r>
          <a:r>
            <a:rPr lang="zh-CN" altLang="en-US" sz="2000" dirty="0" smtClean="0">
              <a:solidFill>
                <a:schemeClr val="tx1"/>
              </a:solidFill>
              <a:latin typeface="Optane"/>
            </a:rPr>
            <a:t>个月</a:t>
          </a:r>
          <a:endParaRPr lang="es-ES" sz="2000" dirty="0">
            <a:solidFill>
              <a:schemeClr val="tx1"/>
            </a:solidFill>
            <a:latin typeface="Optane"/>
          </a:endParaRPr>
        </a:p>
      </dgm:t>
    </dgm:pt>
    <dgm:pt modelId="{781E93B7-F9F6-472B-8AC7-478B0536EE66}" type="parTrans" cxnId="{49DFD086-1EB7-4137-905C-0CF37F4CCA70}">
      <dgm:prSet/>
      <dgm:spPr/>
    </dgm:pt>
    <dgm:pt modelId="{8E8287F6-9572-4CFC-B9AC-74A4D1D42E2D}" type="sibTrans" cxnId="{49DFD086-1EB7-4137-905C-0CF37F4CCA70}">
      <dgm:prSet/>
      <dgm:spPr/>
    </dgm:pt>
    <dgm:pt modelId="{2CDE9F24-6971-4879-8DDB-57493ABC4397}" type="pres">
      <dgm:prSet presAssocID="{424B43A7-DED6-4B65-BBB7-595700BFE17C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D5C9214C-28DA-49D4-BB69-96836CBD0248}" type="pres">
      <dgm:prSet presAssocID="{7D0F53E3-4B0F-4FF0-9ECF-EA8D0A3D6B41}" presName="comp" presStyleCnt="0"/>
      <dgm:spPr/>
    </dgm:pt>
    <dgm:pt modelId="{6DFE8E48-0734-47EF-92E5-DE55539D3FD9}" type="pres">
      <dgm:prSet presAssocID="{7D0F53E3-4B0F-4FF0-9ECF-EA8D0A3D6B41}" presName="box" presStyleLbl="node1" presStyleIdx="0" presStyleCnt="2"/>
      <dgm:spPr/>
      <dgm:t>
        <a:bodyPr/>
        <a:lstStyle/>
        <a:p>
          <a:endParaRPr lang="es-ES"/>
        </a:p>
      </dgm:t>
    </dgm:pt>
    <dgm:pt modelId="{E7B5B069-AB2E-477A-B127-FBCA88D3E783}" type="pres">
      <dgm:prSet presAssocID="{7D0F53E3-4B0F-4FF0-9ECF-EA8D0A3D6B41}" presName="img" presStyleLbl="fgImgPlace1" presStyleIdx="0" presStyleCnt="2" custScaleX="103165" custScaleY="102796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zh-CN" altLang="en-US"/>
        </a:p>
      </dgm:t>
    </dgm:pt>
    <dgm:pt modelId="{8651D9E7-9FCE-4E18-9E95-8160E9EFEDA2}" type="pres">
      <dgm:prSet presAssocID="{7D0F53E3-4B0F-4FF0-9ECF-EA8D0A3D6B41}" presName="text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BE9EA81-35E0-47CB-8893-87492C02E8E5}" type="pres">
      <dgm:prSet presAssocID="{91801AB5-C8AC-410D-8536-4DFF9288C947}" presName="spacer" presStyleCnt="0"/>
      <dgm:spPr/>
    </dgm:pt>
    <dgm:pt modelId="{634BC56E-FBAC-42F5-944E-8E296F0C2F22}" type="pres">
      <dgm:prSet presAssocID="{5B528D27-F7BF-491F-AF75-E1763A7741BD}" presName="comp" presStyleCnt="0"/>
      <dgm:spPr/>
    </dgm:pt>
    <dgm:pt modelId="{8EF281C3-1277-4909-B2EA-DFDB325A635D}" type="pres">
      <dgm:prSet presAssocID="{5B528D27-F7BF-491F-AF75-E1763A7741BD}" presName="box" presStyleLbl="node1" presStyleIdx="1" presStyleCnt="2"/>
      <dgm:spPr/>
      <dgm:t>
        <a:bodyPr/>
        <a:lstStyle/>
        <a:p>
          <a:endParaRPr lang="es-ES"/>
        </a:p>
      </dgm:t>
    </dgm:pt>
    <dgm:pt modelId="{86BAFF4E-EB5E-40B5-924E-9F5DFA129BF0}" type="pres">
      <dgm:prSet presAssocID="{5B528D27-F7BF-491F-AF75-E1763A7741BD}" presName="img" presStyleLbl="fgImgPlace1" presStyleIdx="1" presStyleCnt="2" custScaleX="110218" custScaleY="106056" custLinFactNeighborX="-8482" custLinFactNeighborY="3674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7CD3BFF9-386B-46D5-A369-38AFF35EC242}" type="pres">
      <dgm:prSet presAssocID="{5B528D27-F7BF-491F-AF75-E1763A7741BD}" presName="text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231C4836-C428-4C85-BD59-F540FA1A5141}" type="presOf" srcId="{06F1B3EC-F710-4808-8AEE-DFB18048CF6B}" destId="{8651D9E7-9FCE-4E18-9E95-8160E9EFEDA2}" srcOrd="1" destOrd="1" presId="urn:microsoft.com/office/officeart/2005/8/layout/vList4"/>
    <dgm:cxn modelId="{4C82D502-7EDF-4C3B-A347-98A75D3C4AFC}" srcId="{7D0F53E3-4B0F-4FF0-9ECF-EA8D0A3D6B41}" destId="{B2E90EAA-45A3-4428-85AF-475A4F166DBA}" srcOrd="1" destOrd="0" parTransId="{63C2C05E-3FF1-4D8E-8E6C-008F641D021C}" sibTransId="{FB742E00-91C3-47C4-8B97-2083B343188B}"/>
    <dgm:cxn modelId="{7BA47D98-F6AE-4E8C-B992-87330F6E1441}" type="presOf" srcId="{285FA5A7-76C2-499B-B5DE-4EF73911BAED}" destId="{8651D9E7-9FCE-4E18-9E95-8160E9EFEDA2}" srcOrd="1" destOrd="3" presId="urn:microsoft.com/office/officeart/2005/8/layout/vList4"/>
    <dgm:cxn modelId="{B5E76D93-7930-402C-A90E-7E1810079A2D}" type="presOf" srcId="{7D0F53E3-4B0F-4FF0-9ECF-EA8D0A3D6B41}" destId="{8651D9E7-9FCE-4E18-9E95-8160E9EFEDA2}" srcOrd="1" destOrd="0" presId="urn:microsoft.com/office/officeart/2005/8/layout/vList4"/>
    <dgm:cxn modelId="{97EE3BFD-6281-492E-9FD3-859D10FCA992}" type="presOf" srcId="{9AB8D013-112B-45F3-887E-9940D772E40D}" destId="{8EF281C3-1277-4909-B2EA-DFDB325A635D}" srcOrd="0" destOrd="2" presId="urn:microsoft.com/office/officeart/2005/8/layout/vList4"/>
    <dgm:cxn modelId="{8ADEBE88-1398-4211-82BD-7F85A33ED499}" type="presOf" srcId="{7D0F53E3-4B0F-4FF0-9ECF-EA8D0A3D6B41}" destId="{6DFE8E48-0734-47EF-92E5-DE55539D3FD9}" srcOrd="0" destOrd="0" presId="urn:microsoft.com/office/officeart/2005/8/layout/vList4"/>
    <dgm:cxn modelId="{386042FE-4627-40E2-8CD8-9498FCA5A68F}" type="presOf" srcId="{CAB6DFAD-2784-4E6E-B577-825246C7FCA1}" destId="{8651D9E7-9FCE-4E18-9E95-8160E9EFEDA2}" srcOrd="1" destOrd="5" presId="urn:microsoft.com/office/officeart/2005/8/layout/vList4"/>
    <dgm:cxn modelId="{AD59F140-B52B-488D-B2C4-87D2E5EDC5AA}" type="presOf" srcId="{EF0E9821-083F-4477-A127-BCB692AD636E}" destId="{8EF281C3-1277-4909-B2EA-DFDB325A635D}" srcOrd="0" destOrd="1" presId="urn:microsoft.com/office/officeart/2005/8/layout/vList4"/>
    <dgm:cxn modelId="{20957049-5C58-40D0-B931-EFC2FA8E6F28}" srcId="{7D0F53E3-4B0F-4FF0-9ECF-EA8D0A3D6B41}" destId="{CAB6DFAD-2784-4E6E-B577-825246C7FCA1}" srcOrd="4" destOrd="0" parTransId="{131C0B88-7BF0-49AE-A6A3-C044751C8EEA}" sibTransId="{C9D18C0B-6972-40D8-9E67-141688791ED0}"/>
    <dgm:cxn modelId="{4EC5F1FB-FE6B-48A7-A45B-7630F9406FE2}" type="presOf" srcId="{C4907A12-8640-4EA0-AB96-929837301854}" destId="{6DFE8E48-0734-47EF-92E5-DE55539D3FD9}" srcOrd="0" destOrd="4" presId="urn:microsoft.com/office/officeart/2005/8/layout/vList4"/>
    <dgm:cxn modelId="{86F4ED1F-79D5-497B-9845-01635D6D085C}" srcId="{7D0F53E3-4B0F-4FF0-9ECF-EA8D0A3D6B41}" destId="{C4907A12-8640-4EA0-AB96-929837301854}" srcOrd="3" destOrd="0" parTransId="{59478F30-B3B4-4E21-9189-42C89F4E2607}" sibTransId="{BFFE82B5-B6E9-4D9D-B2C1-61290ED89DED}"/>
    <dgm:cxn modelId="{9BCFC488-31B0-40AF-89F2-AE7485215D53}" type="presOf" srcId="{5B528D27-F7BF-491F-AF75-E1763A7741BD}" destId="{7CD3BFF9-386B-46D5-A369-38AFF35EC242}" srcOrd="1" destOrd="0" presId="urn:microsoft.com/office/officeart/2005/8/layout/vList4"/>
    <dgm:cxn modelId="{ED0BF5D6-E5A1-47CB-B361-1980282BB1AE}" type="presOf" srcId="{C4907A12-8640-4EA0-AB96-929837301854}" destId="{8651D9E7-9FCE-4E18-9E95-8160E9EFEDA2}" srcOrd="1" destOrd="4" presId="urn:microsoft.com/office/officeart/2005/8/layout/vList4"/>
    <dgm:cxn modelId="{003CF941-59B8-4026-957E-94B44504C804}" type="presOf" srcId="{424B43A7-DED6-4B65-BBB7-595700BFE17C}" destId="{2CDE9F24-6971-4879-8DDB-57493ABC4397}" srcOrd="0" destOrd="0" presId="urn:microsoft.com/office/officeart/2005/8/layout/vList4"/>
    <dgm:cxn modelId="{BF1A52BF-2F62-44DF-BDEE-5FBA3BA6671A}" type="presOf" srcId="{B2E90EAA-45A3-4428-85AF-475A4F166DBA}" destId="{6DFE8E48-0734-47EF-92E5-DE55539D3FD9}" srcOrd="0" destOrd="2" presId="urn:microsoft.com/office/officeart/2005/8/layout/vList4"/>
    <dgm:cxn modelId="{7F17FED0-0CFA-4FD0-A69C-60060A9EE284}" type="presOf" srcId="{285FA5A7-76C2-499B-B5DE-4EF73911BAED}" destId="{6DFE8E48-0734-47EF-92E5-DE55539D3FD9}" srcOrd="0" destOrd="3" presId="urn:microsoft.com/office/officeart/2005/8/layout/vList4"/>
    <dgm:cxn modelId="{4F548AA6-D1DD-4207-8705-D86E787E07A9}" type="presOf" srcId="{B2E90EAA-45A3-4428-85AF-475A4F166DBA}" destId="{8651D9E7-9FCE-4E18-9E95-8160E9EFEDA2}" srcOrd="1" destOrd="2" presId="urn:microsoft.com/office/officeart/2005/8/layout/vList4"/>
    <dgm:cxn modelId="{E9122A09-688F-4A76-86DA-3687F0D4D296}" type="presOf" srcId="{EF0E9821-083F-4477-A127-BCB692AD636E}" destId="{7CD3BFF9-386B-46D5-A369-38AFF35EC242}" srcOrd="1" destOrd="1" presId="urn:microsoft.com/office/officeart/2005/8/layout/vList4"/>
    <dgm:cxn modelId="{CB9765D8-93D5-454B-B68D-C0C3805808A5}" type="presOf" srcId="{5B528D27-F7BF-491F-AF75-E1763A7741BD}" destId="{8EF281C3-1277-4909-B2EA-DFDB325A635D}" srcOrd="0" destOrd="0" presId="urn:microsoft.com/office/officeart/2005/8/layout/vList4"/>
    <dgm:cxn modelId="{49DFD086-1EB7-4137-905C-0CF37F4CCA70}" srcId="{7D0F53E3-4B0F-4FF0-9ECF-EA8D0A3D6B41}" destId="{285FA5A7-76C2-499B-B5DE-4EF73911BAED}" srcOrd="2" destOrd="0" parTransId="{781E93B7-F9F6-472B-8AC7-478B0536EE66}" sibTransId="{8E8287F6-9572-4CFC-B9AC-74A4D1D42E2D}"/>
    <dgm:cxn modelId="{6B7C4762-AC5A-4AE7-8C46-3FF84BE0ACE1}" type="presOf" srcId="{06F1B3EC-F710-4808-8AEE-DFB18048CF6B}" destId="{6DFE8E48-0734-47EF-92E5-DE55539D3FD9}" srcOrd="0" destOrd="1" presId="urn:microsoft.com/office/officeart/2005/8/layout/vList4"/>
    <dgm:cxn modelId="{C17F5DD9-75B0-4683-81D3-3600BC85C9BE}" srcId="{424B43A7-DED6-4B65-BBB7-595700BFE17C}" destId="{5B528D27-F7BF-491F-AF75-E1763A7741BD}" srcOrd="1" destOrd="0" parTransId="{EC99DCEE-14D2-4D60-9301-59508F7A2B1C}" sibTransId="{0DEE6C8D-09FF-47B6-B720-46C0E2BCB825}"/>
    <dgm:cxn modelId="{711881C2-DEB8-44FA-8125-844FDDEC82FB}" srcId="{7D0F53E3-4B0F-4FF0-9ECF-EA8D0A3D6B41}" destId="{06F1B3EC-F710-4808-8AEE-DFB18048CF6B}" srcOrd="0" destOrd="0" parTransId="{36ACB999-98B1-46E5-AA3C-D0948BF91CAE}" sibTransId="{78306A26-B387-4F15-AEBC-E32F1B882886}"/>
    <dgm:cxn modelId="{A471CEBB-8432-42DA-8EA7-FBB748BB8B70}" type="presOf" srcId="{CAB6DFAD-2784-4E6E-B577-825246C7FCA1}" destId="{6DFE8E48-0734-47EF-92E5-DE55539D3FD9}" srcOrd="0" destOrd="5" presId="urn:microsoft.com/office/officeart/2005/8/layout/vList4"/>
    <dgm:cxn modelId="{B2DEC28E-C732-4F8D-9D01-4A1508BCC7A2}" srcId="{5B528D27-F7BF-491F-AF75-E1763A7741BD}" destId="{9AB8D013-112B-45F3-887E-9940D772E40D}" srcOrd="1" destOrd="0" parTransId="{FF7268D2-EFC2-4CFB-AD41-CAF18B52513B}" sibTransId="{815B5BD5-14F7-4E52-A2AC-C5ACF222BB6B}"/>
    <dgm:cxn modelId="{449CBECE-446F-4BB8-AD4E-50F94882BB8D}" srcId="{424B43A7-DED6-4B65-BBB7-595700BFE17C}" destId="{7D0F53E3-4B0F-4FF0-9ECF-EA8D0A3D6B41}" srcOrd="0" destOrd="0" parTransId="{24A366EF-4CC3-4FAA-A3FE-B01D4FFE9B9A}" sibTransId="{91801AB5-C8AC-410D-8536-4DFF9288C947}"/>
    <dgm:cxn modelId="{5507E9A5-E61E-41C5-B97E-17C4B7169055}" type="presOf" srcId="{9AB8D013-112B-45F3-887E-9940D772E40D}" destId="{7CD3BFF9-386B-46D5-A369-38AFF35EC242}" srcOrd="1" destOrd="2" presId="urn:microsoft.com/office/officeart/2005/8/layout/vList4"/>
    <dgm:cxn modelId="{8D494BF9-35CA-4361-9E1D-7A05BDD4B92E}" srcId="{5B528D27-F7BF-491F-AF75-E1763A7741BD}" destId="{EF0E9821-083F-4477-A127-BCB692AD636E}" srcOrd="0" destOrd="0" parTransId="{B59749BF-CD06-4817-BE67-F78CE77D7A89}" sibTransId="{C7A6A731-B004-4DDD-A0EA-6D744B64452B}"/>
    <dgm:cxn modelId="{1FD53276-05F6-4DF4-B2D3-1C97C2D6548A}" type="presParOf" srcId="{2CDE9F24-6971-4879-8DDB-57493ABC4397}" destId="{D5C9214C-28DA-49D4-BB69-96836CBD0248}" srcOrd="0" destOrd="0" presId="urn:microsoft.com/office/officeart/2005/8/layout/vList4"/>
    <dgm:cxn modelId="{384605FA-AAF9-4FE6-86A5-D4E6D33F4C23}" type="presParOf" srcId="{D5C9214C-28DA-49D4-BB69-96836CBD0248}" destId="{6DFE8E48-0734-47EF-92E5-DE55539D3FD9}" srcOrd="0" destOrd="0" presId="urn:microsoft.com/office/officeart/2005/8/layout/vList4"/>
    <dgm:cxn modelId="{80FE18E9-802D-4BD3-A03A-806E185C7CF1}" type="presParOf" srcId="{D5C9214C-28DA-49D4-BB69-96836CBD0248}" destId="{E7B5B069-AB2E-477A-B127-FBCA88D3E783}" srcOrd="1" destOrd="0" presId="urn:microsoft.com/office/officeart/2005/8/layout/vList4"/>
    <dgm:cxn modelId="{4B50652C-3523-489D-BBF0-BABB040B2271}" type="presParOf" srcId="{D5C9214C-28DA-49D4-BB69-96836CBD0248}" destId="{8651D9E7-9FCE-4E18-9E95-8160E9EFEDA2}" srcOrd="2" destOrd="0" presId="urn:microsoft.com/office/officeart/2005/8/layout/vList4"/>
    <dgm:cxn modelId="{CE455E00-09BF-46DD-99A2-F407AA7344C3}" type="presParOf" srcId="{2CDE9F24-6971-4879-8DDB-57493ABC4397}" destId="{7BE9EA81-35E0-47CB-8893-87492C02E8E5}" srcOrd="1" destOrd="0" presId="urn:microsoft.com/office/officeart/2005/8/layout/vList4"/>
    <dgm:cxn modelId="{8D9ABCDE-3B41-42A9-A9C2-6DF42E4CA1BB}" type="presParOf" srcId="{2CDE9F24-6971-4879-8DDB-57493ABC4397}" destId="{634BC56E-FBAC-42F5-944E-8E296F0C2F22}" srcOrd="2" destOrd="0" presId="urn:microsoft.com/office/officeart/2005/8/layout/vList4"/>
    <dgm:cxn modelId="{E1E0C1E2-6D55-4E4C-A348-E015302A21C0}" type="presParOf" srcId="{634BC56E-FBAC-42F5-944E-8E296F0C2F22}" destId="{8EF281C3-1277-4909-B2EA-DFDB325A635D}" srcOrd="0" destOrd="0" presId="urn:microsoft.com/office/officeart/2005/8/layout/vList4"/>
    <dgm:cxn modelId="{7CC63F45-2D4D-4C29-8BAD-B0A61E4D3555}" type="presParOf" srcId="{634BC56E-FBAC-42F5-944E-8E296F0C2F22}" destId="{86BAFF4E-EB5E-40B5-924E-9F5DFA129BF0}" srcOrd="1" destOrd="0" presId="urn:microsoft.com/office/officeart/2005/8/layout/vList4"/>
    <dgm:cxn modelId="{26B2D7F3-DCFF-40FC-BA9F-F3C283847651}" type="presParOf" srcId="{634BC56E-FBAC-42F5-944E-8E296F0C2F22}" destId="{7CD3BFF9-386B-46D5-A369-38AFF35EC242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39DDB2B0-0630-499A-A53B-FA9E71BD4911}" type="doc">
      <dgm:prSet loTypeId="urn:microsoft.com/office/officeart/2005/8/layout/venn1" loCatId="relationship" qsTypeId="urn:microsoft.com/office/officeart/2005/8/quickstyle/simple1#9" qsCatId="simple" csTypeId="urn:microsoft.com/office/officeart/2005/8/colors/accent1_2#8" csCatId="accent1" phldr="1"/>
      <dgm:spPr/>
    </dgm:pt>
    <dgm:pt modelId="{F026A0EE-F3E8-469D-A30C-8D2D9EAA65D2}">
      <dgm:prSet phldrT="[Texto]" custT="1"/>
      <dgm:spPr>
        <a:solidFill>
          <a:schemeClr val="accent4">
            <a:lumMod val="60000"/>
            <a:lumOff val="40000"/>
            <a:alpha val="50000"/>
          </a:schemeClr>
        </a:solidFill>
      </dgm:spPr>
      <dgm:t>
        <a:bodyPr/>
        <a:lstStyle/>
        <a:p>
          <a:r>
            <a:rPr lang="es-ES" sz="2200" b="1" dirty="0" smtClean="0">
              <a:solidFill>
                <a:schemeClr val="tx1"/>
              </a:solidFill>
              <a:latin typeface="Optane"/>
            </a:rPr>
            <a:t>CONTROLS LEGALITY OF ACTS</a:t>
          </a:r>
          <a:endParaRPr lang="zh-CN" altLang="en-US" sz="2200" b="1" dirty="0" smtClean="0">
            <a:solidFill>
              <a:schemeClr val="tx1"/>
            </a:solidFill>
            <a:latin typeface="Optane"/>
          </a:endParaRPr>
        </a:p>
        <a:p>
          <a:r>
            <a:rPr lang="zh-CN" altLang="en-US" sz="2200" b="1" dirty="0" smtClean="0">
              <a:solidFill>
                <a:schemeClr val="tx1"/>
              </a:solidFill>
              <a:latin typeface="Optane"/>
            </a:rPr>
            <a:t>法案合法性检查</a:t>
          </a:r>
          <a:endParaRPr lang="es-ES" sz="2200" b="1" dirty="0">
            <a:solidFill>
              <a:schemeClr val="tx1"/>
            </a:solidFill>
            <a:latin typeface="Optane"/>
          </a:endParaRPr>
        </a:p>
      </dgm:t>
    </dgm:pt>
    <dgm:pt modelId="{94DD588C-CAA6-42F8-A87D-E5CC33133001}" type="parTrans" cxnId="{6614131A-58E2-47AB-96D0-52FCB8C439EC}">
      <dgm:prSet/>
      <dgm:spPr/>
      <dgm:t>
        <a:bodyPr/>
        <a:lstStyle/>
        <a:p>
          <a:endParaRPr lang="es-ES"/>
        </a:p>
      </dgm:t>
    </dgm:pt>
    <dgm:pt modelId="{8D052147-7A79-46B3-A85B-59C7F4C8623A}" type="sibTrans" cxnId="{6614131A-58E2-47AB-96D0-52FCB8C439EC}">
      <dgm:prSet/>
      <dgm:spPr/>
      <dgm:t>
        <a:bodyPr/>
        <a:lstStyle/>
        <a:p>
          <a:endParaRPr lang="es-ES"/>
        </a:p>
      </dgm:t>
    </dgm:pt>
    <dgm:pt modelId="{6F7CA53A-1EB3-4099-962C-680DEA14BCD2}">
      <dgm:prSet phldrT="[Texto]" custT="1"/>
      <dgm:spPr/>
      <dgm:t>
        <a:bodyPr/>
        <a:lstStyle/>
        <a:p>
          <a:pPr algn="l"/>
          <a:r>
            <a:rPr lang="es-ES" sz="2200" b="1" dirty="0" smtClean="0">
              <a:latin typeface="Optane"/>
            </a:rPr>
            <a:t>SETS EU LAW INTERPRETATION (COMPULSORY)</a:t>
          </a:r>
        </a:p>
        <a:p>
          <a:pPr algn="l"/>
          <a:r>
            <a:rPr lang="zh-CN" altLang="en-US" sz="2200" b="1" dirty="0" smtClean="0">
              <a:latin typeface="Optane"/>
            </a:rPr>
            <a:t>设定欧盟法律解释（强制性）</a:t>
          </a:r>
          <a:endParaRPr lang="es-ES" sz="2200" b="1" dirty="0" smtClean="0">
            <a:latin typeface="Optane"/>
          </a:endParaRPr>
        </a:p>
        <a:p>
          <a:pPr algn="l"/>
          <a:endParaRPr lang="es-ES" sz="2200" b="1" dirty="0">
            <a:latin typeface="Optane"/>
          </a:endParaRPr>
        </a:p>
      </dgm:t>
    </dgm:pt>
    <dgm:pt modelId="{570E67D2-A16C-4BE6-8527-CEEE60483B73}" type="parTrans" cxnId="{FC8C4491-9A50-4A09-AC08-41D8AA1E42F8}">
      <dgm:prSet/>
      <dgm:spPr/>
      <dgm:t>
        <a:bodyPr/>
        <a:lstStyle/>
        <a:p>
          <a:endParaRPr lang="es-ES"/>
        </a:p>
      </dgm:t>
    </dgm:pt>
    <dgm:pt modelId="{AF0CE208-5CBD-4EE7-83BE-87B88B46F73D}" type="sibTrans" cxnId="{FC8C4491-9A50-4A09-AC08-41D8AA1E42F8}">
      <dgm:prSet/>
      <dgm:spPr/>
      <dgm:t>
        <a:bodyPr/>
        <a:lstStyle/>
        <a:p>
          <a:endParaRPr lang="es-ES"/>
        </a:p>
      </dgm:t>
    </dgm:pt>
    <dgm:pt modelId="{73D3A108-F84F-4337-929C-A0A3F73D2539}">
      <dgm:prSet phldrT="[Texto]" custT="1"/>
      <dgm:spPr>
        <a:solidFill>
          <a:srgbClr val="F892F1">
            <a:alpha val="50000"/>
          </a:srgbClr>
        </a:solidFill>
      </dgm:spPr>
      <dgm:t>
        <a:bodyPr/>
        <a:lstStyle/>
        <a:p>
          <a:pPr algn="r"/>
          <a:r>
            <a:rPr lang="es-ES" sz="2200" b="1" dirty="0" smtClean="0">
              <a:solidFill>
                <a:schemeClr val="tx1"/>
              </a:solidFill>
              <a:latin typeface="Optane"/>
            </a:rPr>
            <a:t>MONITORS THAT MS RESPECT THEIR OBLIGATIONS</a:t>
          </a:r>
          <a:endParaRPr lang="zh-CN" altLang="en-US" sz="2200" b="1" dirty="0" smtClean="0">
            <a:solidFill>
              <a:schemeClr val="tx1"/>
            </a:solidFill>
            <a:latin typeface="Optane"/>
          </a:endParaRPr>
        </a:p>
        <a:p>
          <a:pPr algn="r"/>
          <a:r>
            <a:rPr lang="zh-CN" altLang="en-US" sz="2200" b="1" dirty="0" smtClean="0">
              <a:solidFill>
                <a:schemeClr val="tx1"/>
              </a:solidFill>
              <a:latin typeface="Optane"/>
            </a:rPr>
            <a:t>监督成员国是否履行义务</a:t>
          </a:r>
          <a:endParaRPr lang="es-ES" sz="2200" b="1" dirty="0" smtClean="0">
            <a:solidFill>
              <a:schemeClr val="tx1"/>
            </a:solidFill>
            <a:latin typeface="Optane"/>
          </a:endParaRPr>
        </a:p>
      </dgm:t>
    </dgm:pt>
    <dgm:pt modelId="{6A3412AA-EAA9-4E2E-B26A-CCC8BA7F47E2}" type="parTrans" cxnId="{5A9576FD-7545-44AF-9F50-C3E6E2A5F7F7}">
      <dgm:prSet/>
      <dgm:spPr/>
      <dgm:t>
        <a:bodyPr/>
        <a:lstStyle/>
        <a:p>
          <a:endParaRPr lang="es-ES"/>
        </a:p>
      </dgm:t>
    </dgm:pt>
    <dgm:pt modelId="{2C9938BB-2CFA-422E-B241-5A82AAF2CD4C}" type="sibTrans" cxnId="{5A9576FD-7545-44AF-9F50-C3E6E2A5F7F7}">
      <dgm:prSet/>
      <dgm:spPr/>
      <dgm:t>
        <a:bodyPr/>
        <a:lstStyle/>
        <a:p>
          <a:endParaRPr lang="es-ES"/>
        </a:p>
      </dgm:t>
    </dgm:pt>
    <dgm:pt modelId="{618DA713-C2DE-4371-BC8B-865C11785AF6}" type="pres">
      <dgm:prSet presAssocID="{39DDB2B0-0630-499A-A53B-FA9E71BD4911}" presName="compositeShape" presStyleCnt="0">
        <dgm:presLayoutVars>
          <dgm:chMax val="7"/>
          <dgm:dir/>
          <dgm:resizeHandles val="exact"/>
        </dgm:presLayoutVars>
      </dgm:prSet>
      <dgm:spPr/>
    </dgm:pt>
    <dgm:pt modelId="{A8A131F4-AF5C-400E-AE44-3F058DBA8F0B}" type="pres">
      <dgm:prSet presAssocID="{F026A0EE-F3E8-469D-A30C-8D2D9EAA65D2}" presName="circ1" presStyleLbl="vennNode1" presStyleIdx="0" presStyleCnt="3" custLinFactNeighborX="-46685" custLinFactNeighborY="2569"/>
      <dgm:spPr/>
      <dgm:t>
        <a:bodyPr/>
        <a:lstStyle/>
        <a:p>
          <a:endParaRPr lang="es-ES"/>
        </a:p>
      </dgm:t>
    </dgm:pt>
    <dgm:pt modelId="{47C62815-7329-44E1-9905-EE5CAC3983BA}" type="pres">
      <dgm:prSet presAssocID="{F026A0EE-F3E8-469D-A30C-8D2D9EAA65D2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AEE7B95-D2CF-47A7-861F-1C9A8C74205C}" type="pres">
      <dgm:prSet presAssocID="{6F7CA53A-1EB3-4099-962C-680DEA14BCD2}" presName="circ2" presStyleLbl="vennNode1" presStyleIdx="1" presStyleCnt="3" custLinFactNeighborX="-43114" custLinFactNeighborY="717"/>
      <dgm:spPr/>
      <dgm:t>
        <a:bodyPr/>
        <a:lstStyle/>
        <a:p>
          <a:endParaRPr lang="es-ES"/>
        </a:p>
      </dgm:t>
    </dgm:pt>
    <dgm:pt modelId="{C93CBCC2-C99D-4D49-B672-6013AE912ABC}" type="pres">
      <dgm:prSet presAssocID="{6F7CA53A-1EB3-4099-962C-680DEA14BCD2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2944855-8302-48C8-9CB0-5B7716CDD32C}" type="pres">
      <dgm:prSet presAssocID="{73D3A108-F84F-4337-929C-A0A3F73D2539}" presName="circ3" presStyleLbl="vennNode1" presStyleIdx="2" presStyleCnt="3" custLinFactNeighborX="-54922" custLinFactNeighborY="717"/>
      <dgm:spPr/>
      <dgm:t>
        <a:bodyPr/>
        <a:lstStyle/>
        <a:p>
          <a:endParaRPr lang="es-ES"/>
        </a:p>
      </dgm:t>
    </dgm:pt>
    <dgm:pt modelId="{83D4EF41-498E-4B85-BE52-4CE5C6AE3154}" type="pres">
      <dgm:prSet presAssocID="{73D3A108-F84F-4337-929C-A0A3F73D2539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5E19C8D1-ECCB-485D-BB85-8A852A52A26C}" type="presOf" srcId="{F026A0EE-F3E8-469D-A30C-8D2D9EAA65D2}" destId="{A8A131F4-AF5C-400E-AE44-3F058DBA8F0B}" srcOrd="0" destOrd="0" presId="urn:microsoft.com/office/officeart/2005/8/layout/venn1"/>
    <dgm:cxn modelId="{6614131A-58E2-47AB-96D0-52FCB8C439EC}" srcId="{39DDB2B0-0630-499A-A53B-FA9E71BD4911}" destId="{F026A0EE-F3E8-469D-A30C-8D2D9EAA65D2}" srcOrd="0" destOrd="0" parTransId="{94DD588C-CAA6-42F8-A87D-E5CC33133001}" sibTransId="{8D052147-7A79-46B3-A85B-59C7F4C8623A}"/>
    <dgm:cxn modelId="{300DC70E-AE99-4307-9C67-8448FCE7D514}" type="presOf" srcId="{73D3A108-F84F-4337-929C-A0A3F73D2539}" destId="{83D4EF41-498E-4B85-BE52-4CE5C6AE3154}" srcOrd="1" destOrd="0" presId="urn:microsoft.com/office/officeart/2005/8/layout/venn1"/>
    <dgm:cxn modelId="{BEBD65AC-5242-4208-A89D-0131628A670F}" type="presOf" srcId="{73D3A108-F84F-4337-929C-A0A3F73D2539}" destId="{32944855-8302-48C8-9CB0-5B7716CDD32C}" srcOrd="0" destOrd="0" presId="urn:microsoft.com/office/officeart/2005/8/layout/venn1"/>
    <dgm:cxn modelId="{65D7AD0B-FE39-4E63-879C-D6BCE9C41476}" type="presOf" srcId="{6F7CA53A-1EB3-4099-962C-680DEA14BCD2}" destId="{BAEE7B95-D2CF-47A7-861F-1C9A8C74205C}" srcOrd="0" destOrd="0" presId="urn:microsoft.com/office/officeart/2005/8/layout/venn1"/>
    <dgm:cxn modelId="{B17466F0-684E-4C42-80C2-EDD41626283D}" type="presOf" srcId="{F026A0EE-F3E8-469D-A30C-8D2D9EAA65D2}" destId="{47C62815-7329-44E1-9905-EE5CAC3983BA}" srcOrd="1" destOrd="0" presId="urn:microsoft.com/office/officeart/2005/8/layout/venn1"/>
    <dgm:cxn modelId="{FC8C4491-9A50-4A09-AC08-41D8AA1E42F8}" srcId="{39DDB2B0-0630-499A-A53B-FA9E71BD4911}" destId="{6F7CA53A-1EB3-4099-962C-680DEA14BCD2}" srcOrd="1" destOrd="0" parTransId="{570E67D2-A16C-4BE6-8527-CEEE60483B73}" sibTransId="{AF0CE208-5CBD-4EE7-83BE-87B88B46F73D}"/>
    <dgm:cxn modelId="{89DF1EB6-BC6C-4CC5-ACD3-F0015D1CE011}" type="presOf" srcId="{39DDB2B0-0630-499A-A53B-FA9E71BD4911}" destId="{618DA713-C2DE-4371-BC8B-865C11785AF6}" srcOrd="0" destOrd="0" presId="urn:microsoft.com/office/officeart/2005/8/layout/venn1"/>
    <dgm:cxn modelId="{5A9576FD-7545-44AF-9F50-C3E6E2A5F7F7}" srcId="{39DDB2B0-0630-499A-A53B-FA9E71BD4911}" destId="{73D3A108-F84F-4337-929C-A0A3F73D2539}" srcOrd="2" destOrd="0" parTransId="{6A3412AA-EAA9-4E2E-B26A-CCC8BA7F47E2}" sibTransId="{2C9938BB-2CFA-422E-B241-5A82AAF2CD4C}"/>
    <dgm:cxn modelId="{973029F5-51C4-4E20-9D38-A6B8330CE7D3}" type="presOf" srcId="{6F7CA53A-1EB3-4099-962C-680DEA14BCD2}" destId="{C93CBCC2-C99D-4D49-B672-6013AE912ABC}" srcOrd="1" destOrd="0" presId="urn:microsoft.com/office/officeart/2005/8/layout/venn1"/>
    <dgm:cxn modelId="{84B561D4-52C2-462D-9534-80B407E81D88}" type="presParOf" srcId="{618DA713-C2DE-4371-BC8B-865C11785AF6}" destId="{A8A131F4-AF5C-400E-AE44-3F058DBA8F0B}" srcOrd="0" destOrd="0" presId="urn:microsoft.com/office/officeart/2005/8/layout/venn1"/>
    <dgm:cxn modelId="{0E495E1F-18E3-4B12-87EF-15FF69369538}" type="presParOf" srcId="{618DA713-C2DE-4371-BC8B-865C11785AF6}" destId="{47C62815-7329-44E1-9905-EE5CAC3983BA}" srcOrd="1" destOrd="0" presId="urn:microsoft.com/office/officeart/2005/8/layout/venn1"/>
    <dgm:cxn modelId="{EC3A584B-7AED-46AC-984E-75DFB86C99D3}" type="presParOf" srcId="{618DA713-C2DE-4371-BC8B-865C11785AF6}" destId="{BAEE7B95-D2CF-47A7-861F-1C9A8C74205C}" srcOrd="2" destOrd="0" presId="urn:microsoft.com/office/officeart/2005/8/layout/venn1"/>
    <dgm:cxn modelId="{EB0182D2-79CF-4452-8873-E6C6C7EFEB98}" type="presParOf" srcId="{618DA713-C2DE-4371-BC8B-865C11785AF6}" destId="{C93CBCC2-C99D-4D49-B672-6013AE912ABC}" srcOrd="3" destOrd="0" presId="urn:microsoft.com/office/officeart/2005/8/layout/venn1"/>
    <dgm:cxn modelId="{2472219E-F519-4B9A-B6E7-39808743066D}" type="presParOf" srcId="{618DA713-C2DE-4371-BC8B-865C11785AF6}" destId="{32944855-8302-48C8-9CB0-5B7716CDD32C}" srcOrd="4" destOrd="0" presId="urn:microsoft.com/office/officeart/2005/8/layout/venn1"/>
    <dgm:cxn modelId="{5FAA0A7B-04E9-443E-B291-F7E94452BC0E}" type="presParOf" srcId="{618DA713-C2DE-4371-BC8B-865C11785AF6}" destId="{83D4EF41-498E-4B85-BE52-4CE5C6AE3154}" srcOrd="5" destOrd="0" presId="urn:microsoft.com/office/officeart/2005/8/layout/venn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9521A065-E579-4FEC-B936-C1D62AD6F449}" type="doc">
      <dgm:prSet loTypeId="urn:microsoft.com/office/officeart/2008/layout/VerticalCurvedList#1" loCatId="list" qsTypeId="urn:microsoft.com/office/officeart/2005/8/quickstyle/simple1#10" qsCatId="simple" csTypeId="urn:microsoft.com/office/officeart/2005/8/colors/accent1_2#9" csCatId="accent1" phldr="1"/>
      <dgm:spPr/>
    </dgm:pt>
    <dgm:pt modelId="{FDB28765-8947-4D67-B5E4-E69CB7C494AE}">
      <dgm:prSet phldrT="[Texto]" custT="1"/>
      <dgm:spPr>
        <a:solidFill>
          <a:srgbClr val="00B0F0"/>
        </a:solidFill>
      </dgm:spPr>
      <dgm:t>
        <a:bodyPr/>
        <a:lstStyle/>
        <a:p>
          <a:r>
            <a:rPr lang="es-ES" sz="2400" dirty="0" err="1" smtClean="0">
              <a:solidFill>
                <a:schemeClr val="tx1"/>
              </a:solidFill>
              <a:latin typeface="Optane"/>
            </a:rPr>
            <a:t>Institutions</a:t>
          </a:r>
          <a:r>
            <a:rPr lang="es-ES" sz="2400" dirty="0" smtClean="0">
              <a:solidFill>
                <a:schemeClr val="tx1"/>
              </a:solidFill>
              <a:latin typeface="Optane"/>
            </a:rPr>
            <a:t> </a:t>
          </a:r>
          <a:r>
            <a:rPr lang="zh-CN" altLang="en-US" sz="2400" dirty="0" smtClean="0">
              <a:solidFill>
                <a:schemeClr val="tx1"/>
              </a:solidFill>
              <a:latin typeface="Optane"/>
            </a:rPr>
            <a:t>机关</a:t>
          </a:r>
          <a:endParaRPr lang="es-ES" sz="2400" dirty="0">
            <a:solidFill>
              <a:schemeClr val="tx1"/>
            </a:solidFill>
            <a:latin typeface="Optane"/>
          </a:endParaRPr>
        </a:p>
      </dgm:t>
    </dgm:pt>
    <dgm:pt modelId="{E837D61D-BF1D-4522-B6E4-0613E53E3990}" type="parTrans" cxnId="{8768D97A-0249-4F57-B129-9340A3F03DE9}">
      <dgm:prSet/>
      <dgm:spPr/>
      <dgm:t>
        <a:bodyPr/>
        <a:lstStyle/>
        <a:p>
          <a:endParaRPr lang="es-ES"/>
        </a:p>
      </dgm:t>
    </dgm:pt>
    <dgm:pt modelId="{078CDDE1-7170-4E2F-92E4-D9A234DD8C07}" type="sibTrans" cxnId="{8768D97A-0249-4F57-B129-9340A3F03DE9}">
      <dgm:prSet/>
      <dgm:spPr/>
      <dgm:t>
        <a:bodyPr/>
        <a:lstStyle/>
        <a:p>
          <a:endParaRPr lang="es-ES"/>
        </a:p>
      </dgm:t>
    </dgm:pt>
    <dgm:pt modelId="{23FE6965-BF3B-489A-BF4F-7504D22C701B}">
      <dgm:prSet phldrT="[Texto]" custT="1"/>
      <dgm:spPr>
        <a:solidFill>
          <a:srgbClr val="92D050"/>
        </a:solidFill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s-ES" sz="1800" dirty="0" smtClean="0">
              <a:solidFill>
                <a:schemeClr val="tx1"/>
              </a:solidFill>
              <a:latin typeface="Optane"/>
            </a:rPr>
            <a:t>Member States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1800" dirty="0" smtClean="0">
              <a:solidFill>
                <a:schemeClr val="tx1"/>
              </a:solidFill>
              <a:latin typeface="Optane"/>
            </a:rPr>
            <a:t>成员国</a:t>
          </a:r>
          <a:endParaRPr lang="es-ES" sz="1800" dirty="0">
            <a:solidFill>
              <a:schemeClr val="tx1"/>
            </a:solidFill>
            <a:latin typeface="Optane"/>
          </a:endParaRPr>
        </a:p>
      </dgm:t>
    </dgm:pt>
    <dgm:pt modelId="{B6958E8E-DB7B-4B72-9EC4-D01FE21CE8E5}" type="parTrans" cxnId="{1A21378B-57F5-4B86-8175-1BF7FA4B0600}">
      <dgm:prSet/>
      <dgm:spPr/>
      <dgm:t>
        <a:bodyPr/>
        <a:lstStyle/>
        <a:p>
          <a:endParaRPr lang="es-ES"/>
        </a:p>
      </dgm:t>
    </dgm:pt>
    <dgm:pt modelId="{790588C6-E173-4100-AC1B-56162AE688E7}" type="sibTrans" cxnId="{1A21378B-57F5-4B86-8175-1BF7FA4B0600}">
      <dgm:prSet/>
      <dgm:spPr/>
      <dgm:t>
        <a:bodyPr/>
        <a:lstStyle/>
        <a:p>
          <a:endParaRPr lang="es-ES"/>
        </a:p>
      </dgm:t>
    </dgm:pt>
    <dgm:pt modelId="{B96EFB59-5F43-44B5-8BDF-19F0D394C001}">
      <dgm:prSet phldrT="[Texto]" custT="1"/>
      <dgm:spPr>
        <a:solidFill>
          <a:srgbClr val="FFCC00"/>
        </a:solidFill>
      </dgm:spPr>
      <dgm:t>
        <a:bodyPr/>
        <a:lstStyle/>
        <a:p>
          <a:r>
            <a:rPr lang="es-ES" sz="2400" dirty="0" err="1" smtClean="0">
              <a:solidFill>
                <a:schemeClr val="tx1"/>
              </a:solidFill>
              <a:latin typeface="Optane"/>
            </a:rPr>
            <a:t>Citizens</a:t>
          </a:r>
          <a:r>
            <a:rPr lang="es-ES" sz="2400" dirty="0" smtClean="0">
              <a:solidFill>
                <a:schemeClr val="tx1"/>
              </a:solidFill>
              <a:latin typeface="Optane"/>
            </a:rPr>
            <a:t> </a:t>
          </a:r>
          <a:r>
            <a:rPr lang="zh-CN" altLang="en-US" sz="2400" dirty="0" smtClean="0">
              <a:solidFill>
                <a:schemeClr val="tx1"/>
              </a:solidFill>
              <a:latin typeface="Optane"/>
            </a:rPr>
            <a:t>公民</a:t>
          </a:r>
          <a:endParaRPr lang="es-ES" sz="2400" dirty="0">
            <a:solidFill>
              <a:schemeClr val="tx1"/>
            </a:solidFill>
            <a:latin typeface="Optane"/>
          </a:endParaRPr>
        </a:p>
      </dgm:t>
    </dgm:pt>
    <dgm:pt modelId="{96296768-6262-4C79-8EB5-0D6AB2CA234C}" type="parTrans" cxnId="{3F4F86A4-6EC8-4BAF-A510-089BE6A20D55}">
      <dgm:prSet/>
      <dgm:spPr/>
      <dgm:t>
        <a:bodyPr/>
        <a:lstStyle/>
        <a:p>
          <a:endParaRPr lang="es-ES"/>
        </a:p>
      </dgm:t>
    </dgm:pt>
    <dgm:pt modelId="{A8B6C24D-BB2E-411A-96C8-71C8A72FF447}" type="sibTrans" cxnId="{3F4F86A4-6EC8-4BAF-A510-089BE6A20D55}">
      <dgm:prSet/>
      <dgm:spPr/>
      <dgm:t>
        <a:bodyPr/>
        <a:lstStyle/>
        <a:p>
          <a:endParaRPr lang="es-ES"/>
        </a:p>
      </dgm:t>
    </dgm:pt>
    <dgm:pt modelId="{5D1218F6-E533-49C5-B043-5D8FB4E24033}" type="pres">
      <dgm:prSet presAssocID="{9521A065-E579-4FEC-B936-C1D62AD6F449}" presName="Name0" presStyleCnt="0">
        <dgm:presLayoutVars>
          <dgm:chMax val="7"/>
          <dgm:chPref val="7"/>
          <dgm:dir/>
        </dgm:presLayoutVars>
      </dgm:prSet>
      <dgm:spPr/>
    </dgm:pt>
    <dgm:pt modelId="{236AE19C-83E5-4F63-AE42-4B1E938D7856}" type="pres">
      <dgm:prSet presAssocID="{9521A065-E579-4FEC-B936-C1D62AD6F449}" presName="Name1" presStyleCnt="0"/>
      <dgm:spPr/>
    </dgm:pt>
    <dgm:pt modelId="{5ECB4BF9-0774-4A37-B8E5-59AC905D9D02}" type="pres">
      <dgm:prSet presAssocID="{9521A065-E579-4FEC-B936-C1D62AD6F449}" presName="cycle" presStyleCnt="0"/>
      <dgm:spPr/>
    </dgm:pt>
    <dgm:pt modelId="{44A9E7FB-447F-4416-8DF5-25C5EA84DE1E}" type="pres">
      <dgm:prSet presAssocID="{9521A065-E579-4FEC-B936-C1D62AD6F449}" presName="srcNode" presStyleLbl="node1" presStyleIdx="0" presStyleCnt="3"/>
      <dgm:spPr/>
    </dgm:pt>
    <dgm:pt modelId="{9847DF36-9051-4C55-8D79-41379C5F37C8}" type="pres">
      <dgm:prSet presAssocID="{9521A065-E579-4FEC-B936-C1D62AD6F449}" presName="conn" presStyleLbl="parChTrans1D2" presStyleIdx="0" presStyleCnt="1"/>
      <dgm:spPr/>
      <dgm:t>
        <a:bodyPr/>
        <a:lstStyle/>
        <a:p>
          <a:endParaRPr lang="es-ES"/>
        </a:p>
      </dgm:t>
    </dgm:pt>
    <dgm:pt modelId="{D5C2A33C-C50B-43F7-80FB-07873BD31175}" type="pres">
      <dgm:prSet presAssocID="{9521A065-E579-4FEC-B936-C1D62AD6F449}" presName="extraNode" presStyleLbl="node1" presStyleIdx="0" presStyleCnt="3"/>
      <dgm:spPr/>
    </dgm:pt>
    <dgm:pt modelId="{1D59FB59-2BBD-4F9A-887E-B2B7A5EA79DE}" type="pres">
      <dgm:prSet presAssocID="{9521A065-E579-4FEC-B936-C1D62AD6F449}" presName="dstNode" presStyleLbl="node1" presStyleIdx="0" presStyleCnt="3"/>
      <dgm:spPr/>
    </dgm:pt>
    <dgm:pt modelId="{C2723B7C-247F-4022-9E30-637AFFC9641E}" type="pres">
      <dgm:prSet presAssocID="{FDB28765-8947-4D67-B5E4-E69CB7C494AE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85F0472D-07E8-452F-8D15-6D7F452511F2}" type="pres">
      <dgm:prSet presAssocID="{FDB28765-8947-4D67-B5E4-E69CB7C494AE}" presName="accent_1" presStyleCnt="0"/>
      <dgm:spPr/>
    </dgm:pt>
    <dgm:pt modelId="{B28A827A-2786-4A7F-80C1-A7B7220FB544}" type="pres">
      <dgm:prSet presAssocID="{FDB28765-8947-4D67-B5E4-E69CB7C494AE}" presName="accentRepeatNode" presStyleLbl="solidFgAcc1" presStyleIdx="0" presStyleCnt="3" custLinFactNeighborX="-6635" custLinFactNeighborY="605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297E22BE-4CE3-4EC5-B96E-E13D09BC4F6D}" type="pres">
      <dgm:prSet presAssocID="{23FE6965-BF3B-489A-BF4F-7504D22C701B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6E16C174-3BD8-4D77-9352-E2ECB47C30CE}" type="pres">
      <dgm:prSet presAssocID="{23FE6965-BF3B-489A-BF4F-7504D22C701B}" presName="accent_2" presStyleCnt="0"/>
      <dgm:spPr/>
    </dgm:pt>
    <dgm:pt modelId="{F2380918-D4A5-4F7E-9490-8A1F2640CD60}" type="pres">
      <dgm:prSet presAssocID="{23FE6965-BF3B-489A-BF4F-7504D22C701B}" presName="accentRepeatNode" presStyleLbl="solidFgAcc1" presStyleIdx="1" presStyleCnt="3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DD4EA987-B70F-4B1F-A073-2E58ADB56881}" type="pres">
      <dgm:prSet presAssocID="{B96EFB59-5F43-44B5-8BDF-19F0D394C001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A6C04EE-080C-4851-9275-F9D6EAF71D3B}" type="pres">
      <dgm:prSet presAssocID="{B96EFB59-5F43-44B5-8BDF-19F0D394C001}" presName="accent_3" presStyleCnt="0"/>
      <dgm:spPr/>
    </dgm:pt>
    <dgm:pt modelId="{53D7CD59-F63E-498A-9731-37458EEC325F}" type="pres">
      <dgm:prSet presAssocID="{B96EFB59-5F43-44B5-8BDF-19F0D394C001}" presName="accentRepeatNode" presStyleLbl="solidFgAcc1" presStyleIdx="2" presStyleCnt="3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</dgm:ptLst>
  <dgm:cxnLst>
    <dgm:cxn modelId="{B0D41706-B185-4020-AF02-032F7552CFF0}" type="presOf" srcId="{9521A065-E579-4FEC-B936-C1D62AD6F449}" destId="{5D1218F6-E533-49C5-B043-5D8FB4E24033}" srcOrd="0" destOrd="0" presId="urn:microsoft.com/office/officeart/2008/layout/VerticalCurvedList#1"/>
    <dgm:cxn modelId="{19DBD230-0BEA-488C-BF21-FD7C8BA91D4B}" type="presOf" srcId="{23FE6965-BF3B-489A-BF4F-7504D22C701B}" destId="{297E22BE-4CE3-4EC5-B96E-E13D09BC4F6D}" srcOrd="0" destOrd="0" presId="urn:microsoft.com/office/officeart/2008/layout/VerticalCurvedList#1"/>
    <dgm:cxn modelId="{3F4F86A4-6EC8-4BAF-A510-089BE6A20D55}" srcId="{9521A065-E579-4FEC-B936-C1D62AD6F449}" destId="{B96EFB59-5F43-44B5-8BDF-19F0D394C001}" srcOrd="2" destOrd="0" parTransId="{96296768-6262-4C79-8EB5-0D6AB2CA234C}" sibTransId="{A8B6C24D-BB2E-411A-96C8-71C8A72FF447}"/>
    <dgm:cxn modelId="{E57FE7FB-FA13-43AB-B83A-C2143967FB0C}" type="presOf" srcId="{B96EFB59-5F43-44B5-8BDF-19F0D394C001}" destId="{DD4EA987-B70F-4B1F-A073-2E58ADB56881}" srcOrd="0" destOrd="0" presId="urn:microsoft.com/office/officeart/2008/layout/VerticalCurvedList#1"/>
    <dgm:cxn modelId="{8768D97A-0249-4F57-B129-9340A3F03DE9}" srcId="{9521A065-E579-4FEC-B936-C1D62AD6F449}" destId="{FDB28765-8947-4D67-B5E4-E69CB7C494AE}" srcOrd="0" destOrd="0" parTransId="{E837D61D-BF1D-4522-B6E4-0613E53E3990}" sibTransId="{078CDDE1-7170-4E2F-92E4-D9A234DD8C07}"/>
    <dgm:cxn modelId="{D04964AB-6414-455C-A59D-01EB73277AEA}" type="presOf" srcId="{FDB28765-8947-4D67-B5E4-E69CB7C494AE}" destId="{C2723B7C-247F-4022-9E30-637AFFC9641E}" srcOrd="0" destOrd="0" presId="urn:microsoft.com/office/officeart/2008/layout/VerticalCurvedList#1"/>
    <dgm:cxn modelId="{F01EF6A2-2395-49C9-883D-EEC6A6CF9DE6}" type="presOf" srcId="{078CDDE1-7170-4E2F-92E4-D9A234DD8C07}" destId="{9847DF36-9051-4C55-8D79-41379C5F37C8}" srcOrd="0" destOrd="0" presId="urn:microsoft.com/office/officeart/2008/layout/VerticalCurvedList#1"/>
    <dgm:cxn modelId="{1A21378B-57F5-4B86-8175-1BF7FA4B0600}" srcId="{9521A065-E579-4FEC-B936-C1D62AD6F449}" destId="{23FE6965-BF3B-489A-BF4F-7504D22C701B}" srcOrd="1" destOrd="0" parTransId="{B6958E8E-DB7B-4B72-9EC4-D01FE21CE8E5}" sibTransId="{790588C6-E173-4100-AC1B-56162AE688E7}"/>
    <dgm:cxn modelId="{CE480825-18D5-45D4-90D2-D9A92AC322F9}" type="presParOf" srcId="{5D1218F6-E533-49C5-B043-5D8FB4E24033}" destId="{236AE19C-83E5-4F63-AE42-4B1E938D7856}" srcOrd="0" destOrd="0" presId="urn:microsoft.com/office/officeart/2008/layout/VerticalCurvedList#1"/>
    <dgm:cxn modelId="{42C1A5BA-2344-4C02-B08E-F40FA3BDBB45}" type="presParOf" srcId="{236AE19C-83E5-4F63-AE42-4B1E938D7856}" destId="{5ECB4BF9-0774-4A37-B8E5-59AC905D9D02}" srcOrd="0" destOrd="0" presId="urn:microsoft.com/office/officeart/2008/layout/VerticalCurvedList#1"/>
    <dgm:cxn modelId="{41D7041B-3FD7-45F3-8E3A-7B3D7A9AA1C1}" type="presParOf" srcId="{5ECB4BF9-0774-4A37-B8E5-59AC905D9D02}" destId="{44A9E7FB-447F-4416-8DF5-25C5EA84DE1E}" srcOrd="0" destOrd="0" presId="urn:microsoft.com/office/officeart/2008/layout/VerticalCurvedList#1"/>
    <dgm:cxn modelId="{7F6EE804-D238-46EF-8757-02A2371EB474}" type="presParOf" srcId="{5ECB4BF9-0774-4A37-B8E5-59AC905D9D02}" destId="{9847DF36-9051-4C55-8D79-41379C5F37C8}" srcOrd="1" destOrd="0" presId="urn:microsoft.com/office/officeart/2008/layout/VerticalCurvedList#1"/>
    <dgm:cxn modelId="{47BD7885-72F4-4633-AA8E-64B09F04B8C7}" type="presParOf" srcId="{5ECB4BF9-0774-4A37-B8E5-59AC905D9D02}" destId="{D5C2A33C-C50B-43F7-80FB-07873BD31175}" srcOrd="2" destOrd="0" presId="urn:microsoft.com/office/officeart/2008/layout/VerticalCurvedList#1"/>
    <dgm:cxn modelId="{ABF9302C-5A76-4F85-BAC0-9EE9B2CD13D5}" type="presParOf" srcId="{5ECB4BF9-0774-4A37-B8E5-59AC905D9D02}" destId="{1D59FB59-2BBD-4F9A-887E-B2B7A5EA79DE}" srcOrd="3" destOrd="0" presId="urn:microsoft.com/office/officeart/2008/layout/VerticalCurvedList#1"/>
    <dgm:cxn modelId="{4FDDF2DC-54FF-4F65-AAC4-323398400D91}" type="presParOf" srcId="{236AE19C-83E5-4F63-AE42-4B1E938D7856}" destId="{C2723B7C-247F-4022-9E30-637AFFC9641E}" srcOrd="1" destOrd="0" presId="urn:microsoft.com/office/officeart/2008/layout/VerticalCurvedList#1"/>
    <dgm:cxn modelId="{F4883D2B-5E9B-42D0-923A-DF3E8782891F}" type="presParOf" srcId="{236AE19C-83E5-4F63-AE42-4B1E938D7856}" destId="{85F0472D-07E8-452F-8D15-6D7F452511F2}" srcOrd="2" destOrd="0" presId="urn:microsoft.com/office/officeart/2008/layout/VerticalCurvedList#1"/>
    <dgm:cxn modelId="{F5440D9E-1E72-4813-92F4-74F987DA99A5}" type="presParOf" srcId="{85F0472D-07E8-452F-8D15-6D7F452511F2}" destId="{B28A827A-2786-4A7F-80C1-A7B7220FB544}" srcOrd="0" destOrd="0" presId="urn:microsoft.com/office/officeart/2008/layout/VerticalCurvedList#1"/>
    <dgm:cxn modelId="{ABA5D60D-0A7C-4A36-B7B5-3E040E0D34AC}" type="presParOf" srcId="{236AE19C-83E5-4F63-AE42-4B1E938D7856}" destId="{297E22BE-4CE3-4EC5-B96E-E13D09BC4F6D}" srcOrd="3" destOrd="0" presId="urn:microsoft.com/office/officeart/2008/layout/VerticalCurvedList#1"/>
    <dgm:cxn modelId="{4B0ECF90-1408-45F4-8462-9BB92ED9380B}" type="presParOf" srcId="{236AE19C-83E5-4F63-AE42-4B1E938D7856}" destId="{6E16C174-3BD8-4D77-9352-E2ECB47C30CE}" srcOrd="4" destOrd="0" presId="urn:microsoft.com/office/officeart/2008/layout/VerticalCurvedList#1"/>
    <dgm:cxn modelId="{948C26C3-D39D-45AB-8027-76BB4AC2D964}" type="presParOf" srcId="{6E16C174-3BD8-4D77-9352-E2ECB47C30CE}" destId="{F2380918-D4A5-4F7E-9490-8A1F2640CD60}" srcOrd="0" destOrd="0" presId="urn:microsoft.com/office/officeart/2008/layout/VerticalCurvedList#1"/>
    <dgm:cxn modelId="{5ABFE4E4-C1B9-46FF-8D29-79B9E7D32784}" type="presParOf" srcId="{236AE19C-83E5-4F63-AE42-4B1E938D7856}" destId="{DD4EA987-B70F-4B1F-A073-2E58ADB56881}" srcOrd="5" destOrd="0" presId="urn:microsoft.com/office/officeart/2008/layout/VerticalCurvedList#1"/>
    <dgm:cxn modelId="{DC9A7C20-5AB0-48FC-8219-B14B3D4E7C45}" type="presParOf" srcId="{236AE19C-83E5-4F63-AE42-4B1E938D7856}" destId="{7A6C04EE-080C-4851-9275-F9D6EAF71D3B}" srcOrd="6" destOrd="0" presId="urn:microsoft.com/office/officeart/2008/layout/VerticalCurvedList#1"/>
    <dgm:cxn modelId="{FF2E9406-EB9C-4D74-875D-551F916E91DF}" type="presParOf" srcId="{7A6C04EE-080C-4851-9275-F9D6EAF71D3B}" destId="{53D7CD59-F63E-498A-9731-37458EEC325F}" srcOrd="0" destOrd="0" presId="urn:microsoft.com/office/officeart/2008/layout/VerticalCurvedList#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06E68EE6-E2E0-4D81-8597-4AC3631696C4}" type="doc">
      <dgm:prSet loTypeId="urn:microsoft.com/office/officeart/2005/8/layout/cycle6#1" loCatId="relationship" qsTypeId="urn:microsoft.com/office/officeart/2005/8/quickstyle/simple1#11" qsCatId="simple" csTypeId="urn:microsoft.com/office/officeart/2005/8/colors/accent1_2#10" csCatId="accent1" phldr="1"/>
      <dgm:spPr/>
      <dgm:t>
        <a:bodyPr/>
        <a:lstStyle/>
        <a:p>
          <a:endParaRPr lang="es-ES"/>
        </a:p>
      </dgm:t>
    </dgm:pt>
    <dgm:pt modelId="{C495590A-02E2-4AEC-880C-C3AB6172C978}">
      <dgm:prSet custT="1"/>
      <dgm:spPr>
        <a:solidFill>
          <a:srgbClr val="92D050"/>
        </a:solidFill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1800" b="1" dirty="0" smtClean="0">
              <a:solidFill>
                <a:schemeClr val="tx1"/>
              </a:solidFill>
              <a:latin typeface="Optane"/>
            </a:rPr>
            <a:t>Uniform application of Community law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1800" b="1" dirty="0" smtClean="0">
              <a:solidFill>
                <a:schemeClr val="tx1"/>
              </a:solidFill>
              <a:latin typeface="Optane"/>
            </a:rPr>
            <a:t>欧盟法的一致应用</a:t>
          </a:r>
          <a:endParaRPr lang="en-US" sz="1800" b="1" dirty="0" smtClean="0">
            <a:solidFill>
              <a:schemeClr val="tx1"/>
            </a:solidFill>
            <a:latin typeface="Optane"/>
          </a:endParaRPr>
        </a:p>
      </dgm:t>
    </dgm:pt>
    <dgm:pt modelId="{2D52FEFD-941A-44B2-9E6D-C1002804B615}" type="parTrans" cxnId="{54402D29-3B8C-441C-8E03-ED5C943A5237}">
      <dgm:prSet/>
      <dgm:spPr/>
      <dgm:t>
        <a:bodyPr/>
        <a:lstStyle/>
        <a:p>
          <a:endParaRPr lang="es-ES"/>
        </a:p>
      </dgm:t>
    </dgm:pt>
    <dgm:pt modelId="{B1F5EB56-FD28-4A4A-8A3F-0A7738C4B296}" type="sibTrans" cxnId="{54402D29-3B8C-441C-8E03-ED5C943A5237}">
      <dgm:prSet/>
      <dgm:spPr/>
      <dgm:t>
        <a:bodyPr/>
        <a:lstStyle/>
        <a:p>
          <a:endParaRPr lang="es-ES"/>
        </a:p>
      </dgm:t>
    </dgm:pt>
    <dgm:pt modelId="{293E373B-56EA-4CE2-977A-E434B2E076B1}">
      <dgm:prSet custT="1"/>
      <dgm:spPr>
        <a:solidFill>
          <a:srgbClr val="FFDA65"/>
        </a:solidFill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1800" b="1" dirty="0" smtClean="0">
              <a:solidFill>
                <a:schemeClr val="tx1"/>
              </a:solidFill>
              <a:latin typeface="Optane"/>
            </a:rPr>
            <a:t>Cooperation between Member States and institutions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1800" b="1" dirty="0" smtClean="0">
              <a:solidFill>
                <a:schemeClr val="tx1"/>
              </a:solidFill>
              <a:latin typeface="Optane"/>
            </a:rPr>
            <a:t>成员国和成员机构的合作</a:t>
          </a:r>
          <a:endParaRPr lang="en-US" sz="1800" b="1" dirty="0" smtClean="0">
            <a:solidFill>
              <a:schemeClr val="tx1"/>
            </a:solidFill>
            <a:latin typeface="Optane"/>
          </a:endParaRPr>
        </a:p>
      </dgm:t>
    </dgm:pt>
    <dgm:pt modelId="{81B91B83-212C-4E51-BA76-29550A9FA15C}" type="parTrans" cxnId="{3C763765-3827-4285-A61C-427017AE14D8}">
      <dgm:prSet/>
      <dgm:spPr/>
      <dgm:t>
        <a:bodyPr/>
        <a:lstStyle/>
        <a:p>
          <a:endParaRPr lang="es-ES"/>
        </a:p>
      </dgm:t>
    </dgm:pt>
    <dgm:pt modelId="{58EBE071-FD2C-4FE2-AFEF-6E4D3E769631}" type="sibTrans" cxnId="{3C763765-3827-4285-A61C-427017AE14D8}">
      <dgm:prSet/>
      <dgm:spPr/>
      <dgm:t>
        <a:bodyPr/>
        <a:lstStyle/>
        <a:p>
          <a:endParaRPr lang="es-ES"/>
        </a:p>
      </dgm:t>
    </dgm:pt>
    <dgm:pt modelId="{EBE38A59-F15B-4201-99DA-773A5BFCB49A}">
      <dgm:prSet custT="1"/>
      <dgm:spPr>
        <a:solidFill>
          <a:srgbClr val="FC815A"/>
        </a:solidFill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2200" b="1" dirty="0" smtClean="0">
              <a:solidFill>
                <a:schemeClr val="tx1"/>
              </a:solidFill>
              <a:latin typeface="Optane"/>
            </a:rPr>
            <a:t>Use of new technologies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2200" b="1" dirty="0" smtClean="0">
              <a:solidFill>
                <a:schemeClr val="tx1"/>
              </a:solidFill>
              <a:latin typeface="Optane"/>
            </a:rPr>
            <a:t>使用新技术</a:t>
          </a:r>
          <a:endParaRPr lang="en-US" sz="2200" b="1" dirty="0" smtClean="0">
            <a:solidFill>
              <a:schemeClr val="tx1"/>
            </a:solidFill>
            <a:latin typeface="Optane"/>
          </a:endParaRPr>
        </a:p>
      </dgm:t>
    </dgm:pt>
    <dgm:pt modelId="{3D2C711F-1300-4B0E-8498-A9917B33BA27}" type="parTrans" cxnId="{E4216356-3077-45E0-B9DB-4ABEC01B13C0}">
      <dgm:prSet/>
      <dgm:spPr/>
      <dgm:t>
        <a:bodyPr/>
        <a:lstStyle/>
        <a:p>
          <a:endParaRPr lang="es-ES"/>
        </a:p>
      </dgm:t>
    </dgm:pt>
    <dgm:pt modelId="{099F2D07-4710-4A32-8101-D182AA1D7141}" type="sibTrans" cxnId="{E4216356-3077-45E0-B9DB-4ABEC01B13C0}">
      <dgm:prSet/>
      <dgm:spPr/>
      <dgm:t>
        <a:bodyPr/>
        <a:lstStyle/>
        <a:p>
          <a:endParaRPr lang="es-ES"/>
        </a:p>
      </dgm:t>
    </dgm:pt>
    <dgm:pt modelId="{41CE6EFC-F2C8-4BD2-B823-6E1BCDA48850}">
      <dgm:prSet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pPr>
            <a:lnSpc>
              <a:spcPct val="100000"/>
            </a:lnSpc>
          </a:pPr>
          <a:r>
            <a:rPr lang="es-ES" sz="2000" b="1" dirty="0" smtClean="0">
              <a:solidFill>
                <a:schemeClr val="tx1"/>
              </a:solidFill>
              <a:latin typeface="Optane"/>
            </a:rPr>
            <a:t>Questions of interpretation</a:t>
          </a:r>
        </a:p>
        <a:p>
          <a:pPr>
            <a:lnSpc>
              <a:spcPct val="100000"/>
            </a:lnSpc>
          </a:pPr>
          <a:r>
            <a:rPr lang="zh-CN" altLang="en-US" sz="2000" b="1" dirty="0" smtClean="0">
              <a:solidFill>
                <a:schemeClr val="tx1"/>
              </a:solidFill>
              <a:latin typeface="Optane"/>
            </a:rPr>
            <a:t>司法解释的问题</a:t>
          </a:r>
          <a:endParaRPr lang="es-ES" sz="2000" b="1" dirty="0" smtClean="0">
            <a:solidFill>
              <a:schemeClr val="tx1"/>
            </a:solidFill>
            <a:latin typeface="Optane"/>
          </a:endParaRPr>
        </a:p>
      </dgm:t>
    </dgm:pt>
    <dgm:pt modelId="{AE7ED072-0EFB-4A70-84ED-055B9837246E}" type="parTrans" cxnId="{3A8144EA-B15B-40B3-9515-563CD637E31E}">
      <dgm:prSet/>
      <dgm:spPr/>
      <dgm:t>
        <a:bodyPr/>
        <a:lstStyle/>
        <a:p>
          <a:endParaRPr lang="es-ES"/>
        </a:p>
      </dgm:t>
    </dgm:pt>
    <dgm:pt modelId="{FDDB6E62-47CE-436F-AA24-FCE9D9646ED0}" type="sibTrans" cxnId="{3A8144EA-B15B-40B3-9515-563CD637E31E}">
      <dgm:prSet/>
      <dgm:spPr/>
      <dgm:t>
        <a:bodyPr/>
        <a:lstStyle/>
        <a:p>
          <a:endParaRPr lang="es-ES"/>
        </a:p>
      </dgm:t>
    </dgm:pt>
    <dgm:pt modelId="{E7D85948-2ADE-4DA4-8973-A4A29DD3CFCF}" type="pres">
      <dgm:prSet presAssocID="{06E68EE6-E2E0-4D81-8597-4AC3631696C4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D606F687-84E4-47A3-944F-328C294252EF}" type="pres">
      <dgm:prSet presAssocID="{C495590A-02E2-4AEC-880C-C3AB6172C978}" presName="node" presStyleLbl="node1" presStyleIdx="0" presStyleCnt="4" custScaleX="156691" custScaleY="13018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AB55F3A-AE61-42B9-9481-F6645730B364}" type="pres">
      <dgm:prSet presAssocID="{C495590A-02E2-4AEC-880C-C3AB6172C978}" presName="spNode" presStyleCnt="0"/>
      <dgm:spPr/>
    </dgm:pt>
    <dgm:pt modelId="{8C17F9E6-D035-4749-904B-99D8BAEE9840}" type="pres">
      <dgm:prSet presAssocID="{B1F5EB56-FD28-4A4A-8A3F-0A7738C4B296}" presName="sibTrans" presStyleLbl="sibTrans1D1" presStyleIdx="0" presStyleCnt="4"/>
      <dgm:spPr/>
      <dgm:t>
        <a:bodyPr/>
        <a:lstStyle/>
        <a:p>
          <a:endParaRPr lang="es-ES"/>
        </a:p>
      </dgm:t>
    </dgm:pt>
    <dgm:pt modelId="{B1CD9F50-68DF-41FF-9886-BED1DD1E10B3}" type="pres">
      <dgm:prSet presAssocID="{293E373B-56EA-4CE2-977A-E434B2E076B1}" presName="node" presStyleLbl="node1" presStyleIdx="1" presStyleCnt="4" custScaleX="164107" custScaleY="157361" custRadScaleRad="160387" custRadScaleInc="-1360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65ECBD3-659D-44CC-8470-15F7ED52590B}" type="pres">
      <dgm:prSet presAssocID="{293E373B-56EA-4CE2-977A-E434B2E076B1}" presName="spNode" presStyleCnt="0"/>
      <dgm:spPr/>
    </dgm:pt>
    <dgm:pt modelId="{88155D1B-E99D-4BD1-87AF-F077EB8D1938}" type="pres">
      <dgm:prSet presAssocID="{58EBE071-FD2C-4FE2-AFEF-6E4D3E769631}" presName="sibTrans" presStyleLbl="sibTrans1D1" presStyleIdx="1" presStyleCnt="4"/>
      <dgm:spPr/>
      <dgm:t>
        <a:bodyPr/>
        <a:lstStyle/>
        <a:p>
          <a:endParaRPr lang="es-ES"/>
        </a:p>
      </dgm:t>
    </dgm:pt>
    <dgm:pt modelId="{56747158-6707-4EF9-871B-20DE4D875D89}" type="pres">
      <dgm:prSet presAssocID="{41CE6EFC-F2C8-4BD2-B823-6E1BCDA48850}" presName="node" presStyleLbl="node1" presStyleIdx="2" presStyleCnt="4" custScaleX="165585" custScaleY="123020" custRadScaleRad="92041" custRadScaleInc="-816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0E26E6E8-FDFC-43B0-A352-9E5AA6914207}" type="pres">
      <dgm:prSet presAssocID="{41CE6EFC-F2C8-4BD2-B823-6E1BCDA48850}" presName="spNode" presStyleCnt="0"/>
      <dgm:spPr/>
    </dgm:pt>
    <dgm:pt modelId="{CD76C7E7-78E0-458C-B1A4-35CE6B8F8A70}" type="pres">
      <dgm:prSet presAssocID="{FDDB6E62-47CE-436F-AA24-FCE9D9646ED0}" presName="sibTrans" presStyleLbl="sibTrans1D1" presStyleIdx="2" presStyleCnt="4"/>
      <dgm:spPr/>
      <dgm:t>
        <a:bodyPr/>
        <a:lstStyle/>
        <a:p>
          <a:endParaRPr lang="es-ES"/>
        </a:p>
      </dgm:t>
    </dgm:pt>
    <dgm:pt modelId="{976B7371-CFBF-4707-AF25-A7C51C418A03}" type="pres">
      <dgm:prSet presAssocID="{EBE38A59-F15B-4201-99DA-773A5BFCB49A}" presName="node" presStyleLbl="node1" presStyleIdx="3" presStyleCnt="4" custScaleX="175957" custScaleY="157361" custRadScaleRad="159064" custRadScaleInc="1300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8B4B195-E8BC-44B3-9DB0-0810FDF5AD94}" type="pres">
      <dgm:prSet presAssocID="{EBE38A59-F15B-4201-99DA-773A5BFCB49A}" presName="spNode" presStyleCnt="0"/>
      <dgm:spPr/>
    </dgm:pt>
    <dgm:pt modelId="{CE4E17E6-C4F0-4340-B905-75E689D8D54B}" type="pres">
      <dgm:prSet presAssocID="{099F2D07-4710-4A32-8101-D182AA1D7141}" presName="sibTrans" presStyleLbl="sibTrans1D1" presStyleIdx="3" presStyleCnt="4"/>
      <dgm:spPr/>
      <dgm:t>
        <a:bodyPr/>
        <a:lstStyle/>
        <a:p>
          <a:endParaRPr lang="es-ES"/>
        </a:p>
      </dgm:t>
    </dgm:pt>
  </dgm:ptLst>
  <dgm:cxnLst>
    <dgm:cxn modelId="{3C763765-3827-4285-A61C-427017AE14D8}" srcId="{06E68EE6-E2E0-4D81-8597-4AC3631696C4}" destId="{293E373B-56EA-4CE2-977A-E434B2E076B1}" srcOrd="1" destOrd="0" parTransId="{81B91B83-212C-4E51-BA76-29550A9FA15C}" sibTransId="{58EBE071-FD2C-4FE2-AFEF-6E4D3E769631}"/>
    <dgm:cxn modelId="{E8864F98-811C-4AD3-A666-021E695E033B}" type="presOf" srcId="{EBE38A59-F15B-4201-99DA-773A5BFCB49A}" destId="{976B7371-CFBF-4707-AF25-A7C51C418A03}" srcOrd="0" destOrd="0" presId="urn:microsoft.com/office/officeart/2005/8/layout/cycle6#1"/>
    <dgm:cxn modelId="{956C084D-2DF7-4CB0-85C7-426E1E5424EE}" type="presOf" srcId="{293E373B-56EA-4CE2-977A-E434B2E076B1}" destId="{B1CD9F50-68DF-41FF-9886-BED1DD1E10B3}" srcOrd="0" destOrd="0" presId="urn:microsoft.com/office/officeart/2005/8/layout/cycle6#1"/>
    <dgm:cxn modelId="{348903AA-EFCF-4B4B-B202-3DB256A91A7E}" type="presOf" srcId="{B1F5EB56-FD28-4A4A-8A3F-0A7738C4B296}" destId="{8C17F9E6-D035-4749-904B-99D8BAEE9840}" srcOrd="0" destOrd="0" presId="urn:microsoft.com/office/officeart/2005/8/layout/cycle6#1"/>
    <dgm:cxn modelId="{425E24B0-646D-4AE4-B7DF-FC1491F9E591}" type="presOf" srcId="{06E68EE6-E2E0-4D81-8597-4AC3631696C4}" destId="{E7D85948-2ADE-4DA4-8973-A4A29DD3CFCF}" srcOrd="0" destOrd="0" presId="urn:microsoft.com/office/officeart/2005/8/layout/cycle6#1"/>
    <dgm:cxn modelId="{3A8144EA-B15B-40B3-9515-563CD637E31E}" srcId="{06E68EE6-E2E0-4D81-8597-4AC3631696C4}" destId="{41CE6EFC-F2C8-4BD2-B823-6E1BCDA48850}" srcOrd="2" destOrd="0" parTransId="{AE7ED072-0EFB-4A70-84ED-055B9837246E}" sibTransId="{FDDB6E62-47CE-436F-AA24-FCE9D9646ED0}"/>
    <dgm:cxn modelId="{7F118973-B5FD-478B-AFD2-CF7193699F3F}" type="presOf" srcId="{099F2D07-4710-4A32-8101-D182AA1D7141}" destId="{CE4E17E6-C4F0-4340-B905-75E689D8D54B}" srcOrd="0" destOrd="0" presId="urn:microsoft.com/office/officeart/2005/8/layout/cycle6#1"/>
    <dgm:cxn modelId="{E4216356-3077-45E0-B9DB-4ABEC01B13C0}" srcId="{06E68EE6-E2E0-4D81-8597-4AC3631696C4}" destId="{EBE38A59-F15B-4201-99DA-773A5BFCB49A}" srcOrd="3" destOrd="0" parTransId="{3D2C711F-1300-4B0E-8498-A9917B33BA27}" sibTransId="{099F2D07-4710-4A32-8101-D182AA1D7141}"/>
    <dgm:cxn modelId="{9BED4D88-B7B9-4B53-8040-B466E87BF0E9}" type="presOf" srcId="{FDDB6E62-47CE-436F-AA24-FCE9D9646ED0}" destId="{CD76C7E7-78E0-458C-B1A4-35CE6B8F8A70}" srcOrd="0" destOrd="0" presId="urn:microsoft.com/office/officeart/2005/8/layout/cycle6#1"/>
    <dgm:cxn modelId="{77427BAE-EE54-4525-B25B-E250126C82D0}" type="presOf" srcId="{58EBE071-FD2C-4FE2-AFEF-6E4D3E769631}" destId="{88155D1B-E99D-4BD1-87AF-F077EB8D1938}" srcOrd="0" destOrd="0" presId="urn:microsoft.com/office/officeart/2005/8/layout/cycle6#1"/>
    <dgm:cxn modelId="{54402D29-3B8C-441C-8E03-ED5C943A5237}" srcId="{06E68EE6-E2E0-4D81-8597-4AC3631696C4}" destId="{C495590A-02E2-4AEC-880C-C3AB6172C978}" srcOrd="0" destOrd="0" parTransId="{2D52FEFD-941A-44B2-9E6D-C1002804B615}" sibTransId="{B1F5EB56-FD28-4A4A-8A3F-0A7738C4B296}"/>
    <dgm:cxn modelId="{55098CF9-CFE0-44D5-B241-D0CC257480FC}" type="presOf" srcId="{41CE6EFC-F2C8-4BD2-B823-6E1BCDA48850}" destId="{56747158-6707-4EF9-871B-20DE4D875D89}" srcOrd="0" destOrd="0" presId="urn:microsoft.com/office/officeart/2005/8/layout/cycle6#1"/>
    <dgm:cxn modelId="{5DB4D045-FFAB-4049-99E5-6DF59CEFA220}" type="presOf" srcId="{C495590A-02E2-4AEC-880C-C3AB6172C978}" destId="{D606F687-84E4-47A3-944F-328C294252EF}" srcOrd="0" destOrd="0" presId="urn:microsoft.com/office/officeart/2005/8/layout/cycle6#1"/>
    <dgm:cxn modelId="{D3F05C46-7DA1-4714-A170-F0FD7189EAF3}" type="presParOf" srcId="{E7D85948-2ADE-4DA4-8973-A4A29DD3CFCF}" destId="{D606F687-84E4-47A3-944F-328C294252EF}" srcOrd="0" destOrd="0" presId="urn:microsoft.com/office/officeart/2005/8/layout/cycle6#1"/>
    <dgm:cxn modelId="{81E33C97-9052-4080-84BE-D9CA23DF24F2}" type="presParOf" srcId="{E7D85948-2ADE-4DA4-8973-A4A29DD3CFCF}" destId="{CAB55F3A-AE61-42B9-9481-F6645730B364}" srcOrd="1" destOrd="0" presId="urn:microsoft.com/office/officeart/2005/8/layout/cycle6#1"/>
    <dgm:cxn modelId="{A4ED1609-22E2-4128-984D-A99D90F8F0A6}" type="presParOf" srcId="{E7D85948-2ADE-4DA4-8973-A4A29DD3CFCF}" destId="{8C17F9E6-D035-4749-904B-99D8BAEE9840}" srcOrd="2" destOrd="0" presId="urn:microsoft.com/office/officeart/2005/8/layout/cycle6#1"/>
    <dgm:cxn modelId="{B0A1DBAD-66C5-474A-BECF-75F1EA4D0A53}" type="presParOf" srcId="{E7D85948-2ADE-4DA4-8973-A4A29DD3CFCF}" destId="{B1CD9F50-68DF-41FF-9886-BED1DD1E10B3}" srcOrd="3" destOrd="0" presId="urn:microsoft.com/office/officeart/2005/8/layout/cycle6#1"/>
    <dgm:cxn modelId="{73B594E2-37B7-4D56-ABD9-CF73F61CE869}" type="presParOf" srcId="{E7D85948-2ADE-4DA4-8973-A4A29DD3CFCF}" destId="{765ECBD3-659D-44CC-8470-15F7ED52590B}" srcOrd="4" destOrd="0" presId="urn:microsoft.com/office/officeart/2005/8/layout/cycle6#1"/>
    <dgm:cxn modelId="{453AB3D0-2C89-484D-A12B-CB057BFBBABF}" type="presParOf" srcId="{E7D85948-2ADE-4DA4-8973-A4A29DD3CFCF}" destId="{88155D1B-E99D-4BD1-87AF-F077EB8D1938}" srcOrd="5" destOrd="0" presId="urn:microsoft.com/office/officeart/2005/8/layout/cycle6#1"/>
    <dgm:cxn modelId="{A6F1EE19-4595-4087-AB8A-3C6EF860DAB0}" type="presParOf" srcId="{E7D85948-2ADE-4DA4-8973-A4A29DD3CFCF}" destId="{56747158-6707-4EF9-871B-20DE4D875D89}" srcOrd="6" destOrd="0" presId="urn:microsoft.com/office/officeart/2005/8/layout/cycle6#1"/>
    <dgm:cxn modelId="{49A9A2B1-3DBC-450A-90C1-6EB0482E4765}" type="presParOf" srcId="{E7D85948-2ADE-4DA4-8973-A4A29DD3CFCF}" destId="{0E26E6E8-FDFC-43B0-A352-9E5AA6914207}" srcOrd="7" destOrd="0" presId="urn:microsoft.com/office/officeart/2005/8/layout/cycle6#1"/>
    <dgm:cxn modelId="{59DA88BD-8C5C-414D-9206-E43418409241}" type="presParOf" srcId="{E7D85948-2ADE-4DA4-8973-A4A29DD3CFCF}" destId="{CD76C7E7-78E0-458C-B1A4-35CE6B8F8A70}" srcOrd="8" destOrd="0" presId="urn:microsoft.com/office/officeart/2005/8/layout/cycle6#1"/>
    <dgm:cxn modelId="{BE5E8515-CDDB-47DD-99F3-91252474AC33}" type="presParOf" srcId="{E7D85948-2ADE-4DA4-8973-A4A29DD3CFCF}" destId="{976B7371-CFBF-4707-AF25-A7C51C418A03}" srcOrd="9" destOrd="0" presId="urn:microsoft.com/office/officeart/2005/8/layout/cycle6#1"/>
    <dgm:cxn modelId="{14EC6A28-7A9F-4E6D-8E6C-EAB1368C6880}" type="presParOf" srcId="{E7D85948-2ADE-4DA4-8973-A4A29DD3CFCF}" destId="{D8B4B195-E8BC-44B3-9DB0-0810FDF5AD94}" srcOrd="10" destOrd="0" presId="urn:microsoft.com/office/officeart/2005/8/layout/cycle6#1"/>
    <dgm:cxn modelId="{A5AD8C5E-112E-4378-884C-7E19661D28A4}" type="presParOf" srcId="{E7D85948-2ADE-4DA4-8973-A4A29DD3CFCF}" destId="{CE4E17E6-C4F0-4340-B905-75E689D8D54B}" srcOrd="11" destOrd="0" presId="urn:microsoft.com/office/officeart/2005/8/layout/cycle6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C88B2F5-B4CC-4CA6-A4C5-DF3F4B56D4CD}" type="doc">
      <dgm:prSet loTypeId="urn:microsoft.com/office/officeart/2005/8/layout/hierarchy4" loCatId="relationship" qsTypeId="urn:microsoft.com/office/officeart/2005/8/quickstyle/3d3#1" qsCatId="3D" csTypeId="urn:microsoft.com/office/officeart/2005/8/colors/colorful1#4" csCatId="colorful" phldr="1"/>
      <dgm:spPr/>
      <dgm:t>
        <a:bodyPr/>
        <a:lstStyle/>
        <a:p>
          <a:endParaRPr lang="es-ES"/>
        </a:p>
      </dgm:t>
    </dgm:pt>
    <dgm:pt modelId="{9F92AFD3-5936-4299-BC30-117D25F86BB4}">
      <dgm:prSet phldrT="[Texto]" custT="1"/>
      <dgm:spPr>
        <a:solidFill>
          <a:srgbClr val="B1E987"/>
        </a:solidFill>
      </dgm:spPr>
      <dgm:t>
        <a:bodyPr/>
        <a:lstStyle/>
        <a:p>
          <a:r>
            <a:rPr lang="es-ES" sz="2400" b="1" dirty="0" smtClean="0">
              <a:solidFill>
                <a:schemeClr val="tx1"/>
              </a:solidFill>
              <a:latin typeface="Optane"/>
            </a:rPr>
            <a:t>ASIMILATION OF FACTS (art. 5) </a:t>
          </a:r>
        </a:p>
        <a:p>
          <a:r>
            <a:rPr lang="zh-CN" altLang="en-US" sz="2400" b="1" dirty="0" smtClean="0">
              <a:solidFill>
                <a:schemeClr val="tx1"/>
              </a:solidFill>
              <a:latin typeface="Optane"/>
            </a:rPr>
            <a:t>事实协同 （第</a:t>
          </a:r>
          <a:r>
            <a:rPr lang="en-US" altLang="zh-CN" sz="2400" b="1" dirty="0" smtClean="0">
              <a:solidFill>
                <a:schemeClr val="tx1"/>
              </a:solidFill>
              <a:latin typeface="Optane"/>
            </a:rPr>
            <a:t>5</a:t>
          </a:r>
          <a:r>
            <a:rPr lang="zh-CN" altLang="en-US" sz="2400" b="1" dirty="0" smtClean="0">
              <a:solidFill>
                <a:schemeClr val="tx1"/>
              </a:solidFill>
              <a:latin typeface="Optane"/>
            </a:rPr>
            <a:t>条）</a:t>
          </a:r>
          <a:endParaRPr lang="es-ES" sz="2400" b="1" dirty="0">
            <a:solidFill>
              <a:schemeClr val="tx1"/>
            </a:solidFill>
            <a:latin typeface="Optane"/>
          </a:endParaRPr>
        </a:p>
      </dgm:t>
    </dgm:pt>
    <dgm:pt modelId="{EC142491-BD1B-4DF4-B55C-84F19A5945D6}" type="parTrans" cxnId="{C658F90C-3CAB-4E2F-AD39-D039881EA5DD}">
      <dgm:prSet/>
      <dgm:spPr/>
      <dgm:t>
        <a:bodyPr/>
        <a:lstStyle/>
        <a:p>
          <a:endParaRPr lang="es-ES">
            <a:latin typeface="Optane"/>
          </a:endParaRPr>
        </a:p>
      </dgm:t>
    </dgm:pt>
    <dgm:pt modelId="{F21D813E-0B4F-4922-83C1-F42258ADBE1C}" type="sibTrans" cxnId="{C658F90C-3CAB-4E2F-AD39-D039881EA5DD}">
      <dgm:prSet/>
      <dgm:spPr/>
      <dgm:t>
        <a:bodyPr/>
        <a:lstStyle/>
        <a:p>
          <a:endParaRPr lang="es-ES">
            <a:latin typeface="Optane"/>
          </a:endParaRPr>
        </a:p>
      </dgm:t>
    </dgm:pt>
    <dgm:pt modelId="{298C2BFF-7210-4DB1-BE5E-CF01A483810E}">
      <dgm:prSet phldrT="[Texto]" custT="1"/>
      <dgm:spPr>
        <a:solidFill>
          <a:srgbClr val="F11BE2"/>
        </a:solidFill>
      </dgm:spPr>
      <dgm:t>
        <a:bodyPr/>
        <a:lstStyle/>
        <a:p>
          <a:r>
            <a:rPr lang="es-ES" sz="3600" b="1" dirty="0" smtClean="0">
              <a:solidFill>
                <a:schemeClr val="tx1"/>
              </a:solidFill>
              <a:latin typeface="Optane"/>
            </a:rPr>
            <a:t>SPAIN</a:t>
          </a:r>
        </a:p>
        <a:p>
          <a:r>
            <a:rPr lang="zh-CN" altLang="en-US" sz="3600" b="1" dirty="0" smtClean="0">
              <a:solidFill>
                <a:schemeClr val="tx1"/>
              </a:solidFill>
              <a:latin typeface="Optane"/>
            </a:rPr>
            <a:t>西班牙</a:t>
          </a:r>
          <a:endParaRPr lang="es-ES" sz="3600" b="1" dirty="0">
            <a:solidFill>
              <a:schemeClr val="tx1"/>
            </a:solidFill>
            <a:latin typeface="Optane"/>
          </a:endParaRPr>
        </a:p>
      </dgm:t>
    </dgm:pt>
    <dgm:pt modelId="{D3A75A57-8A7C-42C9-A9B8-FEAD8228E40F}" type="parTrans" cxnId="{92916303-757D-4A63-B6BC-31B8CA264A66}">
      <dgm:prSet/>
      <dgm:spPr/>
      <dgm:t>
        <a:bodyPr/>
        <a:lstStyle/>
        <a:p>
          <a:endParaRPr lang="es-ES">
            <a:latin typeface="Optane"/>
          </a:endParaRPr>
        </a:p>
      </dgm:t>
    </dgm:pt>
    <dgm:pt modelId="{D7805CDD-F49B-43A6-868E-0F2842544449}" type="sibTrans" cxnId="{92916303-757D-4A63-B6BC-31B8CA264A66}">
      <dgm:prSet/>
      <dgm:spPr/>
      <dgm:t>
        <a:bodyPr/>
        <a:lstStyle/>
        <a:p>
          <a:endParaRPr lang="es-ES">
            <a:latin typeface="Optane"/>
          </a:endParaRPr>
        </a:p>
      </dgm:t>
    </dgm:pt>
    <dgm:pt modelId="{94D05D84-DE7C-4AF8-9422-1D56F1D23B75}">
      <dgm:prSet phldrT="[Texto]" custT="1"/>
      <dgm:spPr>
        <a:solidFill>
          <a:srgbClr val="F892F1"/>
        </a:solidFill>
      </dgm:spPr>
      <dgm:t>
        <a:bodyPr/>
        <a:lstStyle/>
        <a:p>
          <a:r>
            <a:rPr lang="es-ES" sz="2000" b="0" dirty="0" smtClean="0">
              <a:solidFill>
                <a:schemeClr val="tx1"/>
              </a:solidFill>
              <a:latin typeface="Optane"/>
            </a:rPr>
            <a:t>BIRTH IN SPAIN</a:t>
          </a:r>
        </a:p>
        <a:p>
          <a:r>
            <a:rPr lang="zh-CN" altLang="en-US" sz="2000" b="0" dirty="0" smtClean="0">
              <a:solidFill>
                <a:schemeClr val="tx1"/>
              </a:solidFill>
              <a:latin typeface="Optane"/>
            </a:rPr>
            <a:t>在西班牙出生</a:t>
          </a:r>
          <a:endParaRPr lang="es-ES" sz="2000" b="0" dirty="0">
            <a:solidFill>
              <a:schemeClr val="tx1"/>
            </a:solidFill>
            <a:latin typeface="Optane"/>
          </a:endParaRPr>
        </a:p>
      </dgm:t>
    </dgm:pt>
    <dgm:pt modelId="{610C6CD5-C68F-49D9-94EF-DA99E30B9F39}" type="parTrans" cxnId="{67F817CE-12B5-433F-875E-984D61736342}">
      <dgm:prSet/>
      <dgm:spPr/>
      <dgm:t>
        <a:bodyPr/>
        <a:lstStyle/>
        <a:p>
          <a:endParaRPr lang="es-ES">
            <a:latin typeface="Optane"/>
          </a:endParaRPr>
        </a:p>
      </dgm:t>
    </dgm:pt>
    <dgm:pt modelId="{73774FB8-958B-49E5-BD0D-811325894C3E}" type="sibTrans" cxnId="{67F817CE-12B5-433F-875E-984D61736342}">
      <dgm:prSet/>
      <dgm:spPr/>
      <dgm:t>
        <a:bodyPr/>
        <a:lstStyle/>
        <a:p>
          <a:endParaRPr lang="es-ES">
            <a:latin typeface="Optane"/>
          </a:endParaRPr>
        </a:p>
      </dgm:t>
    </dgm:pt>
    <dgm:pt modelId="{B2273FD5-31EE-4B52-BB13-1A3E3E1EAE42}">
      <dgm:prSet phldrT="[Texto]" custT="1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es-ES" sz="2000" b="0" dirty="0" smtClean="0">
              <a:solidFill>
                <a:schemeClr val="tx1"/>
              </a:solidFill>
              <a:latin typeface="Optane"/>
            </a:rPr>
            <a:t>BIRTH IN GERMANY</a:t>
          </a:r>
        </a:p>
        <a:p>
          <a:r>
            <a:rPr lang="zh-CN" altLang="en-US" sz="2000" b="0" dirty="0" smtClean="0">
              <a:solidFill>
                <a:schemeClr val="tx1"/>
              </a:solidFill>
              <a:latin typeface="Optane"/>
            </a:rPr>
            <a:t>在德国出生</a:t>
          </a:r>
          <a:endParaRPr lang="es-ES" sz="2000" b="0" dirty="0">
            <a:solidFill>
              <a:schemeClr val="tx1"/>
            </a:solidFill>
            <a:latin typeface="Optane"/>
          </a:endParaRPr>
        </a:p>
      </dgm:t>
    </dgm:pt>
    <dgm:pt modelId="{9438DB32-0FE7-4861-AC6C-8D13DA28B5DB}" type="parTrans" cxnId="{E11E0C8B-07FE-4EC2-9FE2-435885BAC392}">
      <dgm:prSet/>
      <dgm:spPr/>
      <dgm:t>
        <a:bodyPr/>
        <a:lstStyle/>
        <a:p>
          <a:endParaRPr lang="es-ES">
            <a:latin typeface="Optane"/>
          </a:endParaRPr>
        </a:p>
      </dgm:t>
    </dgm:pt>
    <dgm:pt modelId="{943A4ABC-FF74-4E53-B529-9B3C063B92E4}" type="sibTrans" cxnId="{E11E0C8B-07FE-4EC2-9FE2-435885BAC392}">
      <dgm:prSet/>
      <dgm:spPr/>
      <dgm:t>
        <a:bodyPr/>
        <a:lstStyle/>
        <a:p>
          <a:endParaRPr lang="es-ES">
            <a:latin typeface="Optane"/>
          </a:endParaRPr>
        </a:p>
      </dgm:t>
    </dgm:pt>
    <dgm:pt modelId="{51817339-E160-45C7-883F-DA35D7F9AF0A}">
      <dgm:prSet phldrT="[Texto]" custT="1"/>
      <dgm:spPr>
        <a:solidFill>
          <a:srgbClr val="00B0F0"/>
        </a:solidFill>
      </dgm:spPr>
      <dgm:t>
        <a:bodyPr/>
        <a:lstStyle/>
        <a:p>
          <a:r>
            <a:rPr lang="es-ES" sz="3600" b="1" dirty="0" smtClean="0">
              <a:solidFill>
                <a:schemeClr val="tx1"/>
              </a:solidFill>
              <a:latin typeface="Optane"/>
            </a:rPr>
            <a:t>GERMANY</a:t>
          </a:r>
        </a:p>
        <a:p>
          <a:r>
            <a:rPr lang="zh-CN" altLang="en-US" sz="3600" b="1" dirty="0" smtClean="0">
              <a:solidFill>
                <a:schemeClr val="tx1"/>
              </a:solidFill>
              <a:latin typeface="Optane"/>
            </a:rPr>
            <a:t>德国</a:t>
          </a:r>
          <a:endParaRPr lang="es-ES" sz="3600" b="1" dirty="0">
            <a:solidFill>
              <a:schemeClr val="tx1"/>
            </a:solidFill>
            <a:latin typeface="Optane"/>
          </a:endParaRPr>
        </a:p>
      </dgm:t>
    </dgm:pt>
    <dgm:pt modelId="{24ABC387-C95F-4DA7-9F76-8F9855C05161}" type="parTrans" cxnId="{80E83552-7723-4949-BF03-71C0C0758BCA}">
      <dgm:prSet/>
      <dgm:spPr/>
      <dgm:t>
        <a:bodyPr/>
        <a:lstStyle/>
        <a:p>
          <a:endParaRPr lang="es-ES">
            <a:latin typeface="Optane"/>
          </a:endParaRPr>
        </a:p>
      </dgm:t>
    </dgm:pt>
    <dgm:pt modelId="{79A544CF-C318-4A2A-8AB6-08C51FB30206}" type="sibTrans" cxnId="{80E83552-7723-4949-BF03-71C0C0758BCA}">
      <dgm:prSet/>
      <dgm:spPr/>
      <dgm:t>
        <a:bodyPr/>
        <a:lstStyle/>
        <a:p>
          <a:endParaRPr lang="es-ES">
            <a:latin typeface="Optane"/>
          </a:endParaRPr>
        </a:p>
      </dgm:t>
    </dgm:pt>
    <dgm:pt modelId="{D79241B5-91DC-4923-ABE0-A5FC7C0213B3}">
      <dgm:prSet custT="1"/>
      <dgm:spPr>
        <a:solidFill>
          <a:srgbClr val="1FF51F"/>
        </a:solidFill>
      </dgm:spPr>
      <dgm:t>
        <a:bodyPr/>
        <a:lstStyle/>
        <a:p>
          <a:r>
            <a:rPr lang="es-ES" sz="2400" b="1" dirty="0" smtClean="0">
              <a:solidFill>
                <a:schemeClr val="tx1"/>
              </a:solidFill>
              <a:latin typeface="Optane"/>
            </a:rPr>
            <a:t>MATERNITY   SUPPLEMENT</a:t>
          </a:r>
        </a:p>
        <a:p>
          <a:r>
            <a:rPr lang="zh-CN" altLang="en-US" sz="2400" b="1" dirty="0" smtClean="0">
              <a:solidFill>
                <a:schemeClr val="tx1"/>
              </a:solidFill>
              <a:latin typeface="Optane"/>
            </a:rPr>
            <a:t>生育补充</a:t>
          </a:r>
          <a:endParaRPr lang="es-ES" sz="2400" b="1" dirty="0">
            <a:solidFill>
              <a:schemeClr val="tx1"/>
            </a:solidFill>
            <a:latin typeface="Optane"/>
          </a:endParaRPr>
        </a:p>
      </dgm:t>
    </dgm:pt>
    <dgm:pt modelId="{274CCA1C-49E5-4259-8B5D-10E7B3D3B31D}" type="parTrans" cxnId="{BEFA1EF0-8F0E-450F-9FA2-313BFADDBD74}">
      <dgm:prSet/>
      <dgm:spPr/>
      <dgm:t>
        <a:bodyPr/>
        <a:lstStyle/>
        <a:p>
          <a:endParaRPr lang="es-ES">
            <a:latin typeface="Optane"/>
          </a:endParaRPr>
        </a:p>
      </dgm:t>
    </dgm:pt>
    <dgm:pt modelId="{DFCF99CF-BD54-4557-90E0-32623E163F40}" type="sibTrans" cxnId="{BEFA1EF0-8F0E-450F-9FA2-313BFADDBD74}">
      <dgm:prSet/>
      <dgm:spPr/>
      <dgm:t>
        <a:bodyPr/>
        <a:lstStyle/>
        <a:p>
          <a:endParaRPr lang="es-ES">
            <a:latin typeface="Optane"/>
          </a:endParaRPr>
        </a:p>
      </dgm:t>
    </dgm:pt>
    <dgm:pt modelId="{38EB6894-2896-43EC-9C63-C9A98C09D490}" type="pres">
      <dgm:prSet presAssocID="{8C88B2F5-B4CC-4CA6-A4C5-DF3F4B56D4CD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s-ES"/>
        </a:p>
      </dgm:t>
    </dgm:pt>
    <dgm:pt modelId="{7E0D08A0-DB18-46DB-ADFC-7E0BD6F6F087}" type="pres">
      <dgm:prSet presAssocID="{9F92AFD3-5936-4299-BC30-117D25F86BB4}" presName="vertOne" presStyleCnt="0"/>
      <dgm:spPr/>
    </dgm:pt>
    <dgm:pt modelId="{42B35F21-8932-40C2-BDE1-0B16B7F69DE5}" type="pres">
      <dgm:prSet presAssocID="{9F92AFD3-5936-4299-BC30-117D25F86BB4}" presName="txOne" presStyleLbl="node0" presStyleIdx="0" presStyleCnt="1" custScaleX="98398" custScaleY="23162" custLinFactNeighborX="842" custLinFactNeighborY="46222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EB1592FE-4873-4C3B-84C3-C9B1C27FEE36}" type="pres">
      <dgm:prSet presAssocID="{9F92AFD3-5936-4299-BC30-117D25F86BB4}" presName="parTransOne" presStyleCnt="0"/>
      <dgm:spPr/>
    </dgm:pt>
    <dgm:pt modelId="{D9E9ED10-5602-4BA7-B861-BBE86E00135A}" type="pres">
      <dgm:prSet presAssocID="{9F92AFD3-5936-4299-BC30-117D25F86BB4}" presName="horzOne" presStyleCnt="0"/>
      <dgm:spPr/>
    </dgm:pt>
    <dgm:pt modelId="{D1DDB246-1EA4-4869-AB48-CC2EC77A71AB}" type="pres">
      <dgm:prSet presAssocID="{298C2BFF-7210-4DB1-BE5E-CF01A483810E}" presName="vertTwo" presStyleCnt="0"/>
      <dgm:spPr/>
    </dgm:pt>
    <dgm:pt modelId="{2D6DCAFA-1FBB-4AA0-8497-E3C36EE63CF1}" type="pres">
      <dgm:prSet presAssocID="{298C2BFF-7210-4DB1-BE5E-CF01A483810E}" presName="txTwo" presStyleLbl="node2" presStyleIdx="0" presStyleCnt="2" custScaleX="44664" custScaleY="43624" custLinFactNeighborX="-13355" custLinFactNeighborY="9449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C8C24BA4-A34F-40FC-8BA3-7DA9B4408AB3}" type="pres">
      <dgm:prSet presAssocID="{298C2BFF-7210-4DB1-BE5E-CF01A483810E}" presName="parTransTwo" presStyleCnt="0"/>
      <dgm:spPr/>
    </dgm:pt>
    <dgm:pt modelId="{DC1F8EB4-EE14-46B7-BED9-FC098741ECF7}" type="pres">
      <dgm:prSet presAssocID="{298C2BFF-7210-4DB1-BE5E-CF01A483810E}" presName="horzTwo" presStyleCnt="0"/>
      <dgm:spPr/>
    </dgm:pt>
    <dgm:pt modelId="{4B259E9F-FFAC-4CA8-A035-E1ECF1038DC7}" type="pres">
      <dgm:prSet presAssocID="{94D05D84-DE7C-4AF8-9422-1D56F1D23B75}" presName="vertThree" presStyleCnt="0"/>
      <dgm:spPr/>
    </dgm:pt>
    <dgm:pt modelId="{3DB53C08-D514-4356-AA91-07AB32C2C923}" type="pres">
      <dgm:prSet presAssocID="{94D05D84-DE7C-4AF8-9422-1D56F1D23B75}" presName="txThree" presStyleLbl="node3" presStyleIdx="0" presStyleCnt="2" custScaleX="55132" custScaleY="35602" custLinFactNeighborX="27558" custLinFactNeighborY="-28384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7C52A3B4-8412-4130-A7AA-44EB24046A86}" type="pres">
      <dgm:prSet presAssocID="{94D05D84-DE7C-4AF8-9422-1D56F1D23B75}" presName="parTransThree" presStyleCnt="0"/>
      <dgm:spPr/>
    </dgm:pt>
    <dgm:pt modelId="{66FDC0A1-2BFF-447A-9AF6-055DF43153BB}" type="pres">
      <dgm:prSet presAssocID="{94D05D84-DE7C-4AF8-9422-1D56F1D23B75}" presName="horzThree" presStyleCnt="0"/>
      <dgm:spPr/>
    </dgm:pt>
    <dgm:pt modelId="{61FC8CA3-C1BD-43DC-B272-E2F5AC5187B9}" type="pres">
      <dgm:prSet presAssocID="{D79241B5-91DC-4923-ABE0-A5FC7C0213B3}" presName="vertFour" presStyleCnt="0">
        <dgm:presLayoutVars>
          <dgm:chPref val="3"/>
        </dgm:presLayoutVars>
      </dgm:prSet>
      <dgm:spPr/>
    </dgm:pt>
    <dgm:pt modelId="{E1D2F679-7041-4CE3-997E-9C57C30759D4}" type="pres">
      <dgm:prSet presAssocID="{D79241B5-91DC-4923-ABE0-A5FC7C0213B3}" presName="txFour" presStyleLbl="node4" presStyleIdx="0" presStyleCnt="1" custScaleX="161817" custScaleY="33763" custLinFactX="20410" custLinFactNeighborX="100000" custLinFactNeighborY="-6494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75A531E5-01B3-46B9-9D01-979A7D9B753B}" type="pres">
      <dgm:prSet presAssocID="{D79241B5-91DC-4923-ABE0-A5FC7C0213B3}" presName="horzFour" presStyleCnt="0"/>
      <dgm:spPr/>
    </dgm:pt>
    <dgm:pt modelId="{9E608A3C-04C9-4A23-9E23-635BEF54B110}" type="pres">
      <dgm:prSet presAssocID="{73774FB8-958B-49E5-BD0D-811325894C3E}" presName="sibSpaceThree" presStyleCnt="0"/>
      <dgm:spPr/>
    </dgm:pt>
    <dgm:pt modelId="{EBE8E1D8-0601-4502-87E5-15CF5622B61E}" type="pres">
      <dgm:prSet presAssocID="{B2273FD5-31EE-4B52-BB13-1A3E3E1EAE42}" presName="vertThree" presStyleCnt="0"/>
      <dgm:spPr/>
    </dgm:pt>
    <dgm:pt modelId="{61A2AD67-1507-4190-9BF8-C3D23ED66D11}" type="pres">
      <dgm:prSet presAssocID="{B2273FD5-31EE-4B52-BB13-1A3E3E1EAE42}" presName="txThree" presStyleLbl="node3" presStyleIdx="1" presStyleCnt="2" custScaleX="97217" custScaleY="36482" custLinFactNeighborX="68666" custLinFactNeighborY="-4265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1E1415B8-30D5-4D17-B481-641D934E54C0}" type="pres">
      <dgm:prSet presAssocID="{B2273FD5-31EE-4B52-BB13-1A3E3E1EAE42}" presName="horzThree" presStyleCnt="0"/>
      <dgm:spPr/>
    </dgm:pt>
    <dgm:pt modelId="{F0B0D516-31A6-4DF7-A4B8-12E6BFAFAB6B}" type="pres">
      <dgm:prSet presAssocID="{D7805CDD-F49B-43A6-868E-0F2842544449}" presName="sibSpaceTwo" presStyleCnt="0"/>
      <dgm:spPr/>
    </dgm:pt>
    <dgm:pt modelId="{990EBB7F-0974-4592-A70F-1E6B5484A8B4}" type="pres">
      <dgm:prSet presAssocID="{51817339-E160-45C7-883F-DA35D7F9AF0A}" presName="vertTwo" presStyleCnt="0"/>
      <dgm:spPr/>
    </dgm:pt>
    <dgm:pt modelId="{6ADCF4F8-BEFE-47A1-BD3C-C4A536648DDA}" type="pres">
      <dgm:prSet presAssocID="{51817339-E160-45C7-883F-DA35D7F9AF0A}" presName="txTwo" presStyleLbl="node2" presStyleIdx="1" presStyleCnt="2" custScaleX="124323" custScaleY="41436" custLinFactNeighborX="-33774" custLinFactNeighborY="900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211785B8-6C20-4DB3-B581-6DDFFF5654EF}" type="pres">
      <dgm:prSet presAssocID="{51817339-E160-45C7-883F-DA35D7F9AF0A}" presName="horzTwo" presStyleCnt="0"/>
      <dgm:spPr/>
    </dgm:pt>
  </dgm:ptLst>
  <dgm:cxnLst>
    <dgm:cxn modelId="{77D9A858-DF9C-4596-9EA7-5860498211EF}" type="presOf" srcId="{B2273FD5-31EE-4B52-BB13-1A3E3E1EAE42}" destId="{61A2AD67-1507-4190-9BF8-C3D23ED66D11}" srcOrd="0" destOrd="0" presId="urn:microsoft.com/office/officeart/2005/8/layout/hierarchy4"/>
    <dgm:cxn modelId="{C658F90C-3CAB-4E2F-AD39-D039881EA5DD}" srcId="{8C88B2F5-B4CC-4CA6-A4C5-DF3F4B56D4CD}" destId="{9F92AFD3-5936-4299-BC30-117D25F86BB4}" srcOrd="0" destOrd="0" parTransId="{EC142491-BD1B-4DF4-B55C-84F19A5945D6}" sibTransId="{F21D813E-0B4F-4922-83C1-F42258ADBE1C}"/>
    <dgm:cxn modelId="{67F817CE-12B5-433F-875E-984D61736342}" srcId="{298C2BFF-7210-4DB1-BE5E-CF01A483810E}" destId="{94D05D84-DE7C-4AF8-9422-1D56F1D23B75}" srcOrd="0" destOrd="0" parTransId="{610C6CD5-C68F-49D9-94EF-DA99E30B9F39}" sibTransId="{73774FB8-958B-49E5-BD0D-811325894C3E}"/>
    <dgm:cxn modelId="{F3C7BA12-43F4-4430-9B72-6D8B97E9F543}" type="presOf" srcId="{9F92AFD3-5936-4299-BC30-117D25F86BB4}" destId="{42B35F21-8932-40C2-BDE1-0B16B7F69DE5}" srcOrd="0" destOrd="0" presId="urn:microsoft.com/office/officeart/2005/8/layout/hierarchy4"/>
    <dgm:cxn modelId="{80E83552-7723-4949-BF03-71C0C0758BCA}" srcId="{9F92AFD3-5936-4299-BC30-117D25F86BB4}" destId="{51817339-E160-45C7-883F-DA35D7F9AF0A}" srcOrd="1" destOrd="0" parTransId="{24ABC387-C95F-4DA7-9F76-8F9855C05161}" sibTransId="{79A544CF-C318-4A2A-8AB6-08C51FB30206}"/>
    <dgm:cxn modelId="{9DEFDD92-56E6-499A-AF4B-245E7928FED1}" type="presOf" srcId="{94D05D84-DE7C-4AF8-9422-1D56F1D23B75}" destId="{3DB53C08-D514-4356-AA91-07AB32C2C923}" srcOrd="0" destOrd="0" presId="urn:microsoft.com/office/officeart/2005/8/layout/hierarchy4"/>
    <dgm:cxn modelId="{B1E995B7-277F-48E0-B606-8ABFA3E9D8EC}" type="presOf" srcId="{298C2BFF-7210-4DB1-BE5E-CF01A483810E}" destId="{2D6DCAFA-1FBB-4AA0-8497-E3C36EE63CF1}" srcOrd="0" destOrd="0" presId="urn:microsoft.com/office/officeart/2005/8/layout/hierarchy4"/>
    <dgm:cxn modelId="{92916303-757D-4A63-B6BC-31B8CA264A66}" srcId="{9F92AFD3-5936-4299-BC30-117D25F86BB4}" destId="{298C2BFF-7210-4DB1-BE5E-CF01A483810E}" srcOrd="0" destOrd="0" parTransId="{D3A75A57-8A7C-42C9-A9B8-FEAD8228E40F}" sibTransId="{D7805CDD-F49B-43A6-868E-0F2842544449}"/>
    <dgm:cxn modelId="{7D5B7CA5-0622-46D1-A404-3C53CFCC82EF}" type="presOf" srcId="{8C88B2F5-B4CC-4CA6-A4C5-DF3F4B56D4CD}" destId="{38EB6894-2896-43EC-9C63-C9A98C09D490}" srcOrd="0" destOrd="0" presId="urn:microsoft.com/office/officeart/2005/8/layout/hierarchy4"/>
    <dgm:cxn modelId="{E7C69816-1A50-4E1D-98AB-1A00AD3595B5}" type="presOf" srcId="{D79241B5-91DC-4923-ABE0-A5FC7C0213B3}" destId="{E1D2F679-7041-4CE3-997E-9C57C30759D4}" srcOrd="0" destOrd="0" presId="urn:microsoft.com/office/officeart/2005/8/layout/hierarchy4"/>
    <dgm:cxn modelId="{8F7213D3-6711-4249-BD41-F202949B6F7B}" type="presOf" srcId="{51817339-E160-45C7-883F-DA35D7F9AF0A}" destId="{6ADCF4F8-BEFE-47A1-BD3C-C4A536648DDA}" srcOrd="0" destOrd="0" presId="urn:microsoft.com/office/officeart/2005/8/layout/hierarchy4"/>
    <dgm:cxn modelId="{E11E0C8B-07FE-4EC2-9FE2-435885BAC392}" srcId="{298C2BFF-7210-4DB1-BE5E-CF01A483810E}" destId="{B2273FD5-31EE-4B52-BB13-1A3E3E1EAE42}" srcOrd="1" destOrd="0" parTransId="{9438DB32-0FE7-4861-AC6C-8D13DA28B5DB}" sibTransId="{943A4ABC-FF74-4E53-B529-9B3C063B92E4}"/>
    <dgm:cxn modelId="{BEFA1EF0-8F0E-450F-9FA2-313BFADDBD74}" srcId="{94D05D84-DE7C-4AF8-9422-1D56F1D23B75}" destId="{D79241B5-91DC-4923-ABE0-A5FC7C0213B3}" srcOrd="0" destOrd="0" parTransId="{274CCA1C-49E5-4259-8B5D-10E7B3D3B31D}" sibTransId="{DFCF99CF-BD54-4557-90E0-32623E163F40}"/>
    <dgm:cxn modelId="{8BDA9AFD-05F7-47C2-9119-2C4C2D83B1D8}" type="presParOf" srcId="{38EB6894-2896-43EC-9C63-C9A98C09D490}" destId="{7E0D08A0-DB18-46DB-ADFC-7E0BD6F6F087}" srcOrd="0" destOrd="0" presId="urn:microsoft.com/office/officeart/2005/8/layout/hierarchy4"/>
    <dgm:cxn modelId="{DA5B56D5-043D-4AA7-9A34-EF21D34710DA}" type="presParOf" srcId="{7E0D08A0-DB18-46DB-ADFC-7E0BD6F6F087}" destId="{42B35F21-8932-40C2-BDE1-0B16B7F69DE5}" srcOrd="0" destOrd="0" presId="urn:microsoft.com/office/officeart/2005/8/layout/hierarchy4"/>
    <dgm:cxn modelId="{5F19C551-03B9-497E-B114-86D275D36E2F}" type="presParOf" srcId="{7E0D08A0-DB18-46DB-ADFC-7E0BD6F6F087}" destId="{EB1592FE-4873-4C3B-84C3-C9B1C27FEE36}" srcOrd="1" destOrd="0" presId="urn:microsoft.com/office/officeart/2005/8/layout/hierarchy4"/>
    <dgm:cxn modelId="{F17B030F-75CE-406F-ABD5-138E8AA12CFA}" type="presParOf" srcId="{7E0D08A0-DB18-46DB-ADFC-7E0BD6F6F087}" destId="{D9E9ED10-5602-4BA7-B861-BBE86E00135A}" srcOrd="2" destOrd="0" presId="urn:microsoft.com/office/officeart/2005/8/layout/hierarchy4"/>
    <dgm:cxn modelId="{836D718A-C784-4BF3-B0E6-FAB3969CAEC2}" type="presParOf" srcId="{D9E9ED10-5602-4BA7-B861-BBE86E00135A}" destId="{D1DDB246-1EA4-4869-AB48-CC2EC77A71AB}" srcOrd="0" destOrd="0" presId="urn:microsoft.com/office/officeart/2005/8/layout/hierarchy4"/>
    <dgm:cxn modelId="{A27C812D-AB47-4864-A448-79E26723CF06}" type="presParOf" srcId="{D1DDB246-1EA4-4869-AB48-CC2EC77A71AB}" destId="{2D6DCAFA-1FBB-4AA0-8497-E3C36EE63CF1}" srcOrd="0" destOrd="0" presId="urn:microsoft.com/office/officeart/2005/8/layout/hierarchy4"/>
    <dgm:cxn modelId="{0F9F73A9-740F-4872-95CA-5657E7D3B514}" type="presParOf" srcId="{D1DDB246-1EA4-4869-AB48-CC2EC77A71AB}" destId="{C8C24BA4-A34F-40FC-8BA3-7DA9B4408AB3}" srcOrd="1" destOrd="0" presId="urn:microsoft.com/office/officeart/2005/8/layout/hierarchy4"/>
    <dgm:cxn modelId="{07C00222-20A0-4405-B81B-79792B8E26DD}" type="presParOf" srcId="{D1DDB246-1EA4-4869-AB48-CC2EC77A71AB}" destId="{DC1F8EB4-EE14-46B7-BED9-FC098741ECF7}" srcOrd="2" destOrd="0" presId="urn:microsoft.com/office/officeart/2005/8/layout/hierarchy4"/>
    <dgm:cxn modelId="{616E6A89-B4A2-4775-BC6F-DD0AE5C7120C}" type="presParOf" srcId="{DC1F8EB4-EE14-46B7-BED9-FC098741ECF7}" destId="{4B259E9F-FFAC-4CA8-A035-E1ECF1038DC7}" srcOrd="0" destOrd="0" presId="urn:microsoft.com/office/officeart/2005/8/layout/hierarchy4"/>
    <dgm:cxn modelId="{A736046C-54AD-42DA-8959-1CC043823163}" type="presParOf" srcId="{4B259E9F-FFAC-4CA8-A035-E1ECF1038DC7}" destId="{3DB53C08-D514-4356-AA91-07AB32C2C923}" srcOrd="0" destOrd="0" presId="urn:microsoft.com/office/officeart/2005/8/layout/hierarchy4"/>
    <dgm:cxn modelId="{452CF1BA-80BC-4FB6-823A-9A0B7DF412A8}" type="presParOf" srcId="{4B259E9F-FFAC-4CA8-A035-E1ECF1038DC7}" destId="{7C52A3B4-8412-4130-A7AA-44EB24046A86}" srcOrd="1" destOrd="0" presId="urn:microsoft.com/office/officeart/2005/8/layout/hierarchy4"/>
    <dgm:cxn modelId="{56577723-F1FA-4699-8FFD-ABA8BD1E3FA4}" type="presParOf" srcId="{4B259E9F-FFAC-4CA8-A035-E1ECF1038DC7}" destId="{66FDC0A1-2BFF-447A-9AF6-055DF43153BB}" srcOrd="2" destOrd="0" presId="urn:microsoft.com/office/officeart/2005/8/layout/hierarchy4"/>
    <dgm:cxn modelId="{306D8AC2-E171-4134-A40D-0082D13EC668}" type="presParOf" srcId="{66FDC0A1-2BFF-447A-9AF6-055DF43153BB}" destId="{61FC8CA3-C1BD-43DC-B272-E2F5AC5187B9}" srcOrd="0" destOrd="0" presId="urn:microsoft.com/office/officeart/2005/8/layout/hierarchy4"/>
    <dgm:cxn modelId="{9083CE65-FC6E-4226-886E-CE7219393E73}" type="presParOf" srcId="{61FC8CA3-C1BD-43DC-B272-E2F5AC5187B9}" destId="{E1D2F679-7041-4CE3-997E-9C57C30759D4}" srcOrd="0" destOrd="0" presId="urn:microsoft.com/office/officeart/2005/8/layout/hierarchy4"/>
    <dgm:cxn modelId="{54811230-9ED4-43BC-87A8-8FDBE2C029A0}" type="presParOf" srcId="{61FC8CA3-C1BD-43DC-B272-E2F5AC5187B9}" destId="{75A531E5-01B3-46B9-9D01-979A7D9B753B}" srcOrd="1" destOrd="0" presId="urn:microsoft.com/office/officeart/2005/8/layout/hierarchy4"/>
    <dgm:cxn modelId="{6DEC785A-B666-49C1-B447-694239C41A33}" type="presParOf" srcId="{DC1F8EB4-EE14-46B7-BED9-FC098741ECF7}" destId="{9E608A3C-04C9-4A23-9E23-635BEF54B110}" srcOrd="1" destOrd="0" presId="urn:microsoft.com/office/officeart/2005/8/layout/hierarchy4"/>
    <dgm:cxn modelId="{81CBEDCD-B917-4C91-8C8E-DF23EBFB2F1A}" type="presParOf" srcId="{DC1F8EB4-EE14-46B7-BED9-FC098741ECF7}" destId="{EBE8E1D8-0601-4502-87E5-15CF5622B61E}" srcOrd="2" destOrd="0" presId="urn:microsoft.com/office/officeart/2005/8/layout/hierarchy4"/>
    <dgm:cxn modelId="{C80672E0-7ED2-4AC3-ABDE-C9685BE25CD4}" type="presParOf" srcId="{EBE8E1D8-0601-4502-87E5-15CF5622B61E}" destId="{61A2AD67-1507-4190-9BF8-C3D23ED66D11}" srcOrd="0" destOrd="0" presId="urn:microsoft.com/office/officeart/2005/8/layout/hierarchy4"/>
    <dgm:cxn modelId="{4FD13D1E-6642-4C9B-A4A4-6513BE176340}" type="presParOf" srcId="{EBE8E1D8-0601-4502-87E5-15CF5622B61E}" destId="{1E1415B8-30D5-4D17-B481-641D934E54C0}" srcOrd="1" destOrd="0" presId="urn:microsoft.com/office/officeart/2005/8/layout/hierarchy4"/>
    <dgm:cxn modelId="{BA358E20-E6CD-4008-BD84-60CA1EA9916B}" type="presParOf" srcId="{D9E9ED10-5602-4BA7-B861-BBE86E00135A}" destId="{F0B0D516-31A6-4DF7-A4B8-12E6BFAFAB6B}" srcOrd="1" destOrd="0" presId="urn:microsoft.com/office/officeart/2005/8/layout/hierarchy4"/>
    <dgm:cxn modelId="{9D895AE1-0833-4F83-85D8-0CDC8B5C93E9}" type="presParOf" srcId="{D9E9ED10-5602-4BA7-B861-BBE86E00135A}" destId="{990EBB7F-0974-4592-A70F-1E6B5484A8B4}" srcOrd="2" destOrd="0" presId="urn:microsoft.com/office/officeart/2005/8/layout/hierarchy4"/>
    <dgm:cxn modelId="{A18221E5-4B53-4AF8-B948-F8E3E7AC67CB}" type="presParOf" srcId="{990EBB7F-0974-4592-A70F-1E6B5484A8B4}" destId="{6ADCF4F8-BEFE-47A1-BD3C-C4A536648DDA}" srcOrd="0" destOrd="0" presId="urn:microsoft.com/office/officeart/2005/8/layout/hierarchy4"/>
    <dgm:cxn modelId="{346E24B2-86D2-4D08-B93F-30A91A6E5A98}" type="presParOf" srcId="{990EBB7F-0974-4592-A70F-1E6B5484A8B4}" destId="{211785B8-6C20-4DB3-B581-6DDFFF5654EF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5223A90-5F93-4EC1-9ED9-AFF0861DDD65}" type="doc">
      <dgm:prSet loTypeId="urn:microsoft.com/office/officeart/2005/8/layout/equation2#1" loCatId="process" qsTypeId="urn:microsoft.com/office/officeart/2005/8/quickstyle/3d3#2" qsCatId="3D" csTypeId="urn:microsoft.com/office/officeart/2005/8/colors/colorful1#2" csCatId="colorful" phldr="1"/>
      <dgm:spPr/>
    </dgm:pt>
    <dgm:pt modelId="{A6B8433C-3D51-4818-9302-B71FBFC2BB51}">
      <dgm:prSet phldrT="[Texto]" custT="1"/>
      <dgm:spPr>
        <a:solidFill>
          <a:srgbClr val="FB460D"/>
        </a:solidFill>
      </dgm:spPr>
      <dgm:t>
        <a:bodyPr/>
        <a:lstStyle/>
        <a:p>
          <a:r>
            <a:rPr lang="es-ES" sz="4000" b="1" dirty="0" smtClean="0">
              <a:solidFill>
                <a:schemeClr val="tx1"/>
              </a:solidFill>
              <a:latin typeface="Optane"/>
            </a:rPr>
            <a:t>SPAIN</a:t>
          </a:r>
        </a:p>
        <a:p>
          <a:r>
            <a:rPr lang="zh-CN" altLang="en-US" sz="4000" b="1" dirty="0" smtClean="0">
              <a:solidFill>
                <a:schemeClr val="tx1"/>
              </a:solidFill>
              <a:latin typeface="Optane"/>
            </a:rPr>
            <a:t>西班牙</a:t>
          </a:r>
          <a:endParaRPr lang="es-ES" sz="4000" b="1" dirty="0">
            <a:solidFill>
              <a:schemeClr val="tx1"/>
            </a:solidFill>
            <a:latin typeface="Optane"/>
          </a:endParaRPr>
        </a:p>
      </dgm:t>
    </dgm:pt>
    <dgm:pt modelId="{171D04ED-01B3-41E7-803B-5F410B4335A3}" type="parTrans" cxnId="{D2FB85C8-D7FF-4B4F-9BAE-1E934D633F16}">
      <dgm:prSet/>
      <dgm:spPr/>
      <dgm:t>
        <a:bodyPr/>
        <a:lstStyle/>
        <a:p>
          <a:endParaRPr lang="es-ES"/>
        </a:p>
      </dgm:t>
    </dgm:pt>
    <dgm:pt modelId="{0FD2AE4C-7EF3-4551-8D63-46B239C68FB7}" type="sibTrans" cxnId="{D2FB85C8-D7FF-4B4F-9BAE-1E934D633F16}">
      <dgm:prSet/>
      <dgm:spPr>
        <a:solidFill>
          <a:srgbClr val="0070C0"/>
        </a:solidFill>
      </dgm:spPr>
      <dgm:t>
        <a:bodyPr/>
        <a:lstStyle/>
        <a:p>
          <a:endParaRPr lang="es-ES"/>
        </a:p>
      </dgm:t>
    </dgm:pt>
    <dgm:pt modelId="{150C4FD3-9F2F-42AE-BD69-1FB6EBD09D88}">
      <dgm:prSet phldrT="[Texto]" custT="1"/>
      <dgm:spPr>
        <a:noFill/>
      </dgm:spPr>
      <dgm:t>
        <a:bodyPr/>
        <a:lstStyle/>
        <a:p>
          <a:r>
            <a:rPr lang="es-ES" sz="3600" b="1" dirty="0" smtClean="0">
              <a:solidFill>
                <a:schemeClr val="tx1"/>
              </a:solidFill>
              <a:latin typeface="Optane"/>
            </a:rPr>
            <a:t>ITALY</a:t>
          </a:r>
        </a:p>
        <a:p>
          <a:r>
            <a:rPr lang="zh-CN" altLang="en-US" sz="3600" b="1" dirty="0" smtClean="0">
              <a:solidFill>
                <a:schemeClr val="tx1"/>
              </a:solidFill>
              <a:latin typeface="Optane"/>
            </a:rPr>
            <a:t>意大利</a:t>
          </a:r>
          <a:endParaRPr lang="es-ES" sz="3600" b="1" dirty="0">
            <a:solidFill>
              <a:schemeClr val="tx1"/>
            </a:solidFill>
            <a:latin typeface="Optane"/>
          </a:endParaRPr>
        </a:p>
      </dgm:t>
    </dgm:pt>
    <dgm:pt modelId="{AED6986B-F7EE-4F26-8291-6967340BB549}" type="parTrans" cxnId="{1FC16706-C451-4683-B883-80F07166C568}">
      <dgm:prSet/>
      <dgm:spPr/>
      <dgm:t>
        <a:bodyPr/>
        <a:lstStyle/>
        <a:p>
          <a:endParaRPr lang="es-ES"/>
        </a:p>
      </dgm:t>
    </dgm:pt>
    <dgm:pt modelId="{2E6BCDEE-824A-4932-93EB-958A1156EB49}" type="sibTrans" cxnId="{1FC16706-C451-4683-B883-80F07166C568}">
      <dgm:prSet/>
      <dgm:spPr>
        <a:solidFill>
          <a:srgbClr val="00B0F0"/>
        </a:solidFill>
      </dgm:spPr>
      <dgm:t>
        <a:bodyPr/>
        <a:lstStyle/>
        <a:p>
          <a:endParaRPr lang="es-ES"/>
        </a:p>
      </dgm:t>
    </dgm:pt>
    <dgm:pt modelId="{FCF753A0-8A0F-4DFE-B915-E0D6FCA32415}" type="pres">
      <dgm:prSet presAssocID="{85223A90-5F93-4EC1-9ED9-AFF0861DDD65}" presName="Name0" presStyleCnt="0">
        <dgm:presLayoutVars>
          <dgm:dir/>
          <dgm:resizeHandles val="exact"/>
        </dgm:presLayoutVars>
      </dgm:prSet>
      <dgm:spPr/>
    </dgm:pt>
    <dgm:pt modelId="{1880F9D5-7E0F-4ABC-B21E-3F05D2306B7F}" type="pres">
      <dgm:prSet presAssocID="{85223A90-5F93-4EC1-9ED9-AFF0861DDD65}" presName="vNodes" presStyleCnt="0"/>
      <dgm:spPr/>
    </dgm:pt>
    <dgm:pt modelId="{B1F4CB94-D123-4005-9D7C-476F59C59333}" type="pres">
      <dgm:prSet presAssocID="{A6B8433C-3D51-4818-9302-B71FBFC2BB51}" presName="node" presStyleLbl="node1" presStyleIdx="0" presStyleCnt="2" custScaleX="46973" custScaleY="20619" custLinFactNeighborX="9426" custLinFactNeighborY="-15360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BDE88F3-1F30-430A-A480-F9C8A49C391E}" type="pres">
      <dgm:prSet presAssocID="{85223A90-5F93-4EC1-9ED9-AFF0861DDD65}" presName="sibTransLast" presStyleLbl="sibTrans2D1" presStyleIdx="0" presStyleCnt="1" custAng="16105461" custScaleX="216091" custScaleY="65576" custLinFactX="162050" custLinFactNeighborX="200000" custLinFactNeighborY="-5622"/>
      <dgm:spPr/>
      <dgm:t>
        <a:bodyPr/>
        <a:lstStyle/>
        <a:p>
          <a:endParaRPr lang="es-ES"/>
        </a:p>
      </dgm:t>
    </dgm:pt>
    <dgm:pt modelId="{1B489954-3178-4ED4-9AAB-7F2ABB7540D6}" type="pres">
      <dgm:prSet presAssocID="{85223A90-5F93-4EC1-9ED9-AFF0861DDD65}" presName="connectorText" presStyleLbl="sibTrans2D1" presStyleIdx="0" presStyleCnt="1"/>
      <dgm:spPr/>
      <dgm:t>
        <a:bodyPr/>
        <a:lstStyle/>
        <a:p>
          <a:endParaRPr lang="es-ES"/>
        </a:p>
      </dgm:t>
    </dgm:pt>
    <dgm:pt modelId="{5DDF6738-51A3-4B8A-8BB0-C9CD37987B5F}" type="pres">
      <dgm:prSet presAssocID="{85223A90-5F93-4EC1-9ED9-AFF0861DDD65}" presName="lastNode" presStyleLbl="node1" presStyleIdx="1" presStyleCnt="2" custScaleX="40515" custScaleY="21084" custLinFactX="-67418" custLinFactNeighborX="-100000" custLinFactNeighborY="29760">
        <dgm:presLayoutVars>
          <dgm:bulletEnabled val="1"/>
        </dgm:presLayoutVars>
      </dgm:prSet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endParaRPr lang="es-ES"/>
        </a:p>
      </dgm:t>
    </dgm:pt>
  </dgm:ptLst>
  <dgm:cxnLst>
    <dgm:cxn modelId="{D2FB85C8-D7FF-4B4F-9BAE-1E934D633F16}" srcId="{85223A90-5F93-4EC1-9ED9-AFF0861DDD65}" destId="{A6B8433C-3D51-4818-9302-B71FBFC2BB51}" srcOrd="0" destOrd="0" parTransId="{171D04ED-01B3-41E7-803B-5F410B4335A3}" sibTransId="{0FD2AE4C-7EF3-4551-8D63-46B239C68FB7}"/>
    <dgm:cxn modelId="{52D18301-1B33-4217-8089-6C9A32B737FF}" type="presOf" srcId="{85223A90-5F93-4EC1-9ED9-AFF0861DDD65}" destId="{FCF753A0-8A0F-4DFE-B915-E0D6FCA32415}" srcOrd="0" destOrd="0" presId="urn:microsoft.com/office/officeart/2005/8/layout/equation2#1"/>
    <dgm:cxn modelId="{1FC16706-C451-4683-B883-80F07166C568}" srcId="{85223A90-5F93-4EC1-9ED9-AFF0861DDD65}" destId="{150C4FD3-9F2F-42AE-BD69-1FB6EBD09D88}" srcOrd="1" destOrd="0" parTransId="{AED6986B-F7EE-4F26-8291-6967340BB549}" sibTransId="{2E6BCDEE-824A-4932-93EB-958A1156EB49}"/>
    <dgm:cxn modelId="{9B5A8101-476C-47B5-B2C0-5069CD0BEAF7}" type="presOf" srcId="{A6B8433C-3D51-4818-9302-B71FBFC2BB51}" destId="{B1F4CB94-D123-4005-9D7C-476F59C59333}" srcOrd="0" destOrd="0" presId="urn:microsoft.com/office/officeart/2005/8/layout/equation2#1"/>
    <dgm:cxn modelId="{3131B39A-AB60-4446-A6E8-AF0A48988E0D}" type="presOf" srcId="{0FD2AE4C-7EF3-4551-8D63-46B239C68FB7}" destId="{CBDE88F3-1F30-430A-A480-F9C8A49C391E}" srcOrd="0" destOrd="0" presId="urn:microsoft.com/office/officeart/2005/8/layout/equation2#1"/>
    <dgm:cxn modelId="{399B0E22-B03E-4876-AC97-B3A905FD3818}" type="presOf" srcId="{0FD2AE4C-7EF3-4551-8D63-46B239C68FB7}" destId="{1B489954-3178-4ED4-9AAB-7F2ABB7540D6}" srcOrd="1" destOrd="0" presId="urn:microsoft.com/office/officeart/2005/8/layout/equation2#1"/>
    <dgm:cxn modelId="{8EFA19C2-0C78-4E6B-BC55-F31E2D0962CB}" type="presOf" srcId="{150C4FD3-9F2F-42AE-BD69-1FB6EBD09D88}" destId="{5DDF6738-51A3-4B8A-8BB0-C9CD37987B5F}" srcOrd="0" destOrd="0" presId="urn:microsoft.com/office/officeart/2005/8/layout/equation2#1"/>
    <dgm:cxn modelId="{F0075030-8158-4114-BAF7-3EB231B62CAB}" type="presParOf" srcId="{FCF753A0-8A0F-4DFE-B915-E0D6FCA32415}" destId="{1880F9D5-7E0F-4ABC-B21E-3F05D2306B7F}" srcOrd="0" destOrd="0" presId="urn:microsoft.com/office/officeart/2005/8/layout/equation2#1"/>
    <dgm:cxn modelId="{796917A7-421B-44E5-A4BA-A5C6B2C9B443}" type="presParOf" srcId="{1880F9D5-7E0F-4ABC-B21E-3F05D2306B7F}" destId="{B1F4CB94-D123-4005-9D7C-476F59C59333}" srcOrd="0" destOrd="0" presId="urn:microsoft.com/office/officeart/2005/8/layout/equation2#1"/>
    <dgm:cxn modelId="{205E9800-F5A7-4539-B37D-3CB4F091C850}" type="presParOf" srcId="{FCF753A0-8A0F-4DFE-B915-E0D6FCA32415}" destId="{CBDE88F3-1F30-430A-A480-F9C8A49C391E}" srcOrd="1" destOrd="0" presId="urn:microsoft.com/office/officeart/2005/8/layout/equation2#1"/>
    <dgm:cxn modelId="{487FDF79-D604-41F5-8203-3744C6B5C9C8}" type="presParOf" srcId="{CBDE88F3-1F30-430A-A480-F9C8A49C391E}" destId="{1B489954-3178-4ED4-9AAB-7F2ABB7540D6}" srcOrd="0" destOrd="0" presId="urn:microsoft.com/office/officeart/2005/8/layout/equation2#1"/>
    <dgm:cxn modelId="{3DE7890F-84CE-4C49-B1E4-1763B5674F0A}" type="presParOf" srcId="{FCF753A0-8A0F-4DFE-B915-E0D6FCA32415}" destId="{5DDF6738-51A3-4B8A-8BB0-C9CD37987B5F}" srcOrd="2" destOrd="0" presId="urn:microsoft.com/office/officeart/2005/8/layout/equation2#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57A8970-9754-4A78-8CFC-893553701241}" type="doc">
      <dgm:prSet loTypeId="urn:microsoft.com/office/officeart/2005/8/layout/default#1" loCatId="list" qsTypeId="urn:microsoft.com/office/officeart/2005/8/quickstyle/simple1#2" qsCatId="simple" csTypeId="urn:microsoft.com/office/officeart/2005/8/colors/accent1_2#1" csCatId="accent1" phldr="1"/>
      <dgm:spPr/>
      <dgm:t>
        <a:bodyPr/>
        <a:lstStyle/>
        <a:p>
          <a:endParaRPr lang="es-ES"/>
        </a:p>
      </dgm:t>
    </dgm:pt>
    <dgm:pt modelId="{FE7056A2-23CC-47EB-86B6-85FF66284CE1}">
      <dgm:prSet phldrT="[Texto]" custT="1"/>
      <dgm:spPr>
        <a:solidFill>
          <a:schemeClr val="tx2">
            <a:lumMod val="40000"/>
            <a:lumOff val="60000"/>
          </a:schemeClr>
        </a:solidFill>
        <a:ln>
          <a:solidFill>
            <a:schemeClr val="tx2">
              <a:lumMod val="40000"/>
              <a:lumOff val="60000"/>
            </a:schemeClr>
          </a:solidFill>
        </a:ln>
      </dgm:spPr>
      <dgm:t>
        <a:bodyPr/>
        <a:lstStyle/>
        <a:p>
          <a:r>
            <a:rPr lang="es-ES" sz="2000" b="1" dirty="0" smtClean="0">
              <a:solidFill>
                <a:srgbClr val="000000"/>
              </a:solidFill>
              <a:latin typeface="Optane"/>
            </a:rPr>
            <a:t>EU nationals / stateless persons – refugees + Family members</a:t>
          </a:r>
        </a:p>
        <a:p>
          <a:r>
            <a:rPr lang="zh-CN" altLang="en-US" sz="2000" b="1" dirty="0" smtClean="0">
              <a:solidFill>
                <a:srgbClr val="000000"/>
              </a:solidFill>
              <a:latin typeface="Optane"/>
            </a:rPr>
            <a:t>欧盟国民资格获得者</a:t>
          </a:r>
          <a:r>
            <a:rPr lang="en-US" altLang="zh-CN" sz="2000" b="1" dirty="0" smtClean="0">
              <a:solidFill>
                <a:srgbClr val="000000"/>
              </a:solidFill>
              <a:latin typeface="Optane"/>
            </a:rPr>
            <a:t>/</a:t>
          </a:r>
          <a:r>
            <a:rPr lang="zh-CN" altLang="en-US" sz="2000" b="1" dirty="0" smtClean="0">
              <a:solidFill>
                <a:srgbClr val="000000"/>
              </a:solidFill>
              <a:latin typeface="Optane"/>
            </a:rPr>
            <a:t>无国籍人士 </a:t>
          </a:r>
          <a:r>
            <a:rPr lang="en-US" altLang="zh-CN" sz="2000" b="1" dirty="0" smtClean="0">
              <a:solidFill>
                <a:srgbClr val="000000"/>
              </a:solidFill>
              <a:latin typeface="Optane"/>
            </a:rPr>
            <a:t>- </a:t>
          </a:r>
          <a:r>
            <a:rPr lang="zh-CN" altLang="en-US" sz="2000" b="1" dirty="0" smtClean="0">
              <a:solidFill>
                <a:srgbClr val="000000"/>
              </a:solidFill>
              <a:latin typeface="Optane"/>
            </a:rPr>
            <a:t>难民</a:t>
          </a:r>
          <a:r>
            <a:rPr lang="en-US" altLang="zh-CN" sz="2000" b="1" dirty="0" smtClean="0">
              <a:solidFill>
                <a:srgbClr val="000000"/>
              </a:solidFill>
              <a:latin typeface="Optane"/>
            </a:rPr>
            <a:t>+</a:t>
          </a:r>
          <a:r>
            <a:rPr lang="zh-CN" altLang="en-US" sz="2000" b="1" dirty="0" smtClean="0">
              <a:solidFill>
                <a:srgbClr val="000000"/>
              </a:solidFill>
              <a:latin typeface="Optane"/>
            </a:rPr>
            <a:t>家庭成员</a:t>
          </a:r>
          <a:endParaRPr lang="es-ES" sz="2000" b="1" dirty="0" smtClean="0">
            <a:solidFill>
              <a:srgbClr val="000000"/>
            </a:solidFill>
            <a:latin typeface="Optane"/>
          </a:endParaRPr>
        </a:p>
        <a:p>
          <a:endParaRPr lang="es-ES" sz="2800" b="1" dirty="0">
            <a:solidFill>
              <a:srgbClr val="000000"/>
            </a:solidFill>
            <a:latin typeface="Optane"/>
          </a:endParaRPr>
        </a:p>
      </dgm:t>
    </dgm:pt>
    <dgm:pt modelId="{AE60FC17-2CD2-498D-B83D-F256EFC259B8}" type="parTrans" cxnId="{C9754113-9876-4A12-B9ED-433D7E2268B9}">
      <dgm:prSet/>
      <dgm:spPr/>
      <dgm:t>
        <a:bodyPr/>
        <a:lstStyle/>
        <a:p>
          <a:endParaRPr lang="es-ES"/>
        </a:p>
      </dgm:t>
    </dgm:pt>
    <dgm:pt modelId="{4973FB39-2B8D-42BE-8B20-D1B744494FFD}" type="sibTrans" cxnId="{C9754113-9876-4A12-B9ED-433D7E2268B9}">
      <dgm:prSet/>
      <dgm:spPr/>
      <dgm:t>
        <a:bodyPr/>
        <a:lstStyle/>
        <a:p>
          <a:endParaRPr lang="es-ES"/>
        </a:p>
      </dgm:t>
    </dgm:pt>
    <dgm:pt modelId="{9DE9E46D-054A-427D-9886-A660EEE3161B}">
      <dgm:prSet phldrT="[Texto]" custT="1"/>
      <dgm:spPr>
        <a:solidFill>
          <a:srgbClr val="92D050"/>
        </a:solidFill>
      </dgm:spPr>
      <dgm:t>
        <a:bodyPr/>
        <a:lstStyle/>
        <a:p>
          <a:r>
            <a:rPr lang="es-ES" sz="2000" b="1" dirty="0" smtClean="0">
              <a:solidFill>
                <a:schemeClr val="tx1"/>
              </a:solidFill>
              <a:latin typeface="Optane"/>
            </a:rPr>
            <a:t>Survivors , irrespective of their nationality</a:t>
          </a:r>
        </a:p>
        <a:p>
          <a:r>
            <a:rPr lang="zh-CN" altLang="en-US" sz="2000" b="1" dirty="0" smtClean="0">
              <a:solidFill>
                <a:schemeClr val="tx1"/>
              </a:solidFill>
              <a:latin typeface="Optane"/>
            </a:rPr>
            <a:t>遗属，无论其国籍为何</a:t>
          </a:r>
          <a:endParaRPr lang="es-ES" sz="2000" b="1" dirty="0" smtClean="0">
            <a:solidFill>
              <a:schemeClr val="tx1"/>
            </a:solidFill>
            <a:latin typeface="Optane"/>
          </a:endParaRPr>
        </a:p>
        <a:p>
          <a:endParaRPr lang="es-ES" sz="2800" b="1" dirty="0">
            <a:solidFill>
              <a:schemeClr val="tx1"/>
            </a:solidFill>
            <a:latin typeface="Optane"/>
          </a:endParaRPr>
        </a:p>
      </dgm:t>
    </dgm:pt>
    <dgm:pt modelId="{0079FB9B-3EE3-4B72-B051-24EC5634CAC6}" type="parTrans" cxnId="{37E06CBC-DD1F-4726-BB31-90BCEF0B04E9}">
      <dgm:prSet/>
      <dgm:spPr/>
      <dgm:t>
        <a:bodyPr/>
        <a:lstStyle/>
        <a:p>
          <a:endParaRPr lang="es-ES"/>
        </a:p>
      </dgm:t>
    </dgm:pt>
    <dgm:pt modelId="{77502ADA-1F8A-4041-9F6D-44A66423DBA6}" type="sibTrans" cxnId="{37E06CBC-DD1F-4726-BB31-90BCEF0B04E9}">
      <dgm:prSet/>
      <dgm:spPr/>
      <dgm:t>
        <a:bodyPr/>
        <a:lstStyle/>
        <a:p>
          <a:endParaRPr lang="es-ES"/>
        </a:p>
      </dgm:t>
    </dgm:pt>
    <dgm:pt modelId="{C36748E2-E54C-4382-9932-837D8D721C5B}">
      <dgm:prSet phldrT="[Texto]" custT="1"/>
      <dgm:spPr>
        <a:solidFill>
          <a:srgbClr val="F892F1"/>
        </a:solidFill>
      </dgm:spPr>
      <dgm:t>
        <a:bodyPr/>
        <a:lstStyle/>
        <a:p>
          <a:pPr>
            <a:lnSpc>
              <a:spcPct val="50000"/>
            </a:lnSpc>
          </a:pPr>
          <a:r>
            <a:rPr lang="es-ES" sz="2000" b="1" dirty="0" smtClean="0">
              <a:solidFill>
                <a:schemeClr val="tx1"/>
              </a:solidFill>
              <a:latin typeface="Optane"/>
            </a:rPr>
            <a:t>Third countries nationals</a:t>
          </a:r>
        </a:p>
        <a:p>
          <a:pPr>
            <a:lnSpc>
              <a:spcPct val="50000"/>
            </a:lnSpc>
          </a:pPr>
          <a:r>
            <a:rPr lang="zh-CN" altLang="en-US" sz="2000" b="1" dirty="0" smtClean="0">
              <a:solidFill>
                <a:schemeClr val="tx1"/>
              </a:solidFill>
              <a:latin typeface="Optane"/>
            </a:rPr>
            <a:t>第三国家国民</a:t>
          </a:r>
          <a:endParaRPr lang="es-ES" sz="2000" b="1" dirty="0" smtClean="0">
            <a:solidFill>
              <a:schemeClr val="tx1"/>
            </a:solidFill>
            <a:latin typeface="Optane"/>
          </a:endParaRPr>
        </a:p>
        <a:p>
          <a:pPr>
            <a:lnSpc>
              <a:spcPct val="50000"/>
            </a:lnSpc>
          </a:pPr>
          <a:r>
            <a:rPr lang="es-ES" sz="2000" b="1" dirty="0" smtClean="0">
              <a:solidFill>
                <a:schemeClr val="tx1"/>
              </a:solidFill>
              <a:latin typeface="Optane"/>
            </a:rPr>
            <a:t>(Regulation (EU) 1231/2010)</a:t>
          </a:r>
        </a:p>
        <a:p>
          <a:pPr>
            <a:lnSpc>
              <a:spcPct val="50000"/>
            </a:lnSpc>
          </a:pPr>
          <a:r>
            <a:rPr lang="zh-CN" altLang="en-US" sz="2000" b="1" dirty="0" smtClean="0">
              <a:solidFill>
                <a:schemeClr val="tx1"/>
              </a:solidFill>
              <a:latin typeface="Optane"/>
            </a:rPr>
            <a:t>（（欧盟）规定</a:t>
          </a:r>
          <a:r>
            <a:rPr lang="es-ES" sz="2000" b="1" dirty="0" smtClean="0">
              <a:solidFill>
                <a:schemeClr val="tx1"/>
              </a:solidFill>
              <a:latin typeface="Optane"/>
            </a:rPr>
            <a:t>1231/2010</a:t>
          </a:r>
          <a:r>
            <a:rPr lang="zh-CN" altLang="en-US" sz="2000" b="1" dirty="0" smtClean="0">
              <a:solidFill>
                <a:schemeClr val="tx1"/>
              </a:solidFill>
              <a:latin typeface="Optane"/>
            </a:rPr>
            <a:t>）</a:t>
          </a:r>
          <a:endParaRPr lang="es-ES" sz="2000" b="1" dirty="0" smtClean="0">
            <a:solidFill>
              <a:schemeClr val="tx1"/>
            </a:solidFill>
            <a:latin typeface="Optane"/>
          </a:endParaRPr>
        </a:p>
        <a:p>
          <a:pPr>
            <a:lnSpc>
              <a:spcPct val="50000"/>
            </a:lnSpc>
          </a:pPr>
          <a:endParaRPr lang="es-ES" sz="2800" b="1" dirty="0">
            <a:solidFill>
              <a:schemeClr val="tx1"/>
            </a:solidFill>
            <a:latin typeface="Optane"/>
          </a:endParaRPr>
        </a:p>
      </dgm:t>
    </dgm:pt>
    <dgm:pt modelId="{FE1CC0C9-8F5D-4FC8-8B52-ECC0DD94BB5F}" type="parTrans" cxnId="{4E55F3A1-BE56-4091-9CC7-6A1B705CAA6F}">
      <dgm:prSet/>
      <dgm:spPr/>
      <dgm:t>
        <a:bodyPr/>
        <a:lstStyle/>
        <a:p>
          <a:endParaRPr lang="es-ES"/>
        </a:p>
      </dgm:t>
    </dgm:pt>
    <dgm:pt modelId="{23A8CC6B-C9F4-437B-946D-C48625BC9818}" type="sibTrans" cxnId="{4E55F3A1-BE56-4091-9CC7-6A1B705CAA6F}">
      <dgm:prSet/>
      <dgm:spPr/>
      <dgm:t>
        <a:bodyPr/>
        <a:lstStyle/>
        <a:p>
          <a:endParaRPr lang="es-ES"/>
        </a:p>
      </dgm:t>
    </dgm:pt>
    <dgm:pt modelId="{4C8FEE39-DFD1-4611-8B57-B9935B0668F3}" type="pres">
      <dgm:prSet presAssocID="{C57A8970-9754-4A78-8CFC-893553701241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609D132B-E80E-46A9-B71F-D248C5DA5B1E}" type="pres">
      <dgm:prSet presAssocID="{FE7056A2-23CC-47EB-86B6-85FF66284CE1}" presName="node" presStyleLbl="node1" presStyleIdx="0" presStyleCnt="3" custScaleX="103943" custLinFactNeighborX="-3873" custLinFactNeighborY="3181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75846F4-901F-41F2-BF1D-7764D67682FB}" type="pres">
      <dgm:prSet presAssocID="{4973FB39-2B8D-42BE-8B20-D1B744494FFD}" presName="sibTrans" presStyleCnt="0"/>
      <dgm:spPr/>
    </dgm:pt>
    <dgm:pt modelId="{5613326F-8DCF-4D38-8E8D-B57CA9719A42}" type="pres">
      <dgm:prSet presAssocID="{9DE9E46D-054A-427D-9886-A660EEE3161B}" presName="node" presStyleLbl="node1" presStyleIdx="1" presStyleCnt="3" custScaleX="105046" custLinFactNeighborX="2452" custLinFactNeighborY="3181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D14D71C-A1C9-4573-80BF-C93BF3B279E6}" type="pres">
      <dgm:prSet presAssocID="{77502ADA-1F8A-4041-9F6D-44A66423DBA6}" presName="sibTrans" presStyleCnt="0"/>
      <dgm:spPr/>
    </dgm:pt>
    <dgm:pt modelId="{68BD6254-5C47-4C40-B52F-EB9693AB7AB1}" type="pres">
      <dgm:prSet presAssocID="{C36748E2-E54C-4382-9932-837D8D721C5B}" presName="node" presStyleLbl="node1" presStyleIdx="2" presStyleCnt="3" custLinFactNeighborX="3667" custLinFactNeighborY="-504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38AC0D30-30E5-4FE6-96F8-880977236CAB}" type="presOf" srcId="{C36748E2-E54C-4382-9932-837D8D721C5B}" destId="{68BD6254-5C47-4C40-B52F-EB9693AB7AB1}" srcOrd="0" destOrd="0" presId="urn:microsoft.com/office/officeart/2005/8/layout/default#1"/>
    <dgm:cxn modelId="{AE3C6E8F-110D-49AB-A159-612793B2EEBB}" type="presOf" srcId="{C57A8970-9754-4A78-8CFC-893553701241}" destId="{4C8FEE39-DFD1-4611-8B57-B9935B0668F3}" srcOrd="0" destOrd="0" presId="urn:microsoft.com/office/officeart/2005/8/layout/default#1"/>
    <dgm:cxn modelId="{9C88AF76-A301-4C5D-9A13-54970930695B}" type="presOf" srcId="{FE7056A2-23CC-47EB-86B6-85FF66284CE1}" destId="{609D132B-E80E-46A9-B71F-D248C5DA5B1E}" srcOrd="0" destOrd="0" presId="urn:microsoft.com/office/officeart/2005/8/layout/default#1"/>
    <dgm:cxn modelId="{4E55F3A1-BE56-4091-9CC7-6A1B705CAA6F}" srcId="{C57A8970-9754-4A78-8CFC-893553701241}" destId="{C36748E2-E54C-4382-9932-837D8D721C5B}" srcOrd="2" destOrd="0" parTransId="{FE1CC0C9-8F5D-4FC8-8B52-ECC0DD94BB5F}" sibTransId="{23A8CC6B-C9F4-437B-946D-C48625BC9818}"/>
    <dgm:cxn modelId="{4DE8F244-0EDB-4891-9E9F-7524F3D34596}" type="presOf" srcId="{9DE9E46D-054A-427D-9886-A660EEE3161B}" destId="{5613326F-8DCF-4D38-8E8D-B57CA9719A42}" srcOrd="0" destOrd="0" presId="urn:microsoft.com/office/officeart/2005/8/layout/default#1"/>
    <dgm:cxn modelId="{37E06CBC-DD1F-4726-BB31-90BCEF0B04E9}" srcId="{C57A8970-9754-4A78-8CFC-893553701241}" destId="{9DE9E46D-054A-427D-9886-A660EEE3161B}" srcOrd="1" destOrd="0" parTransId="{0079FB9B-3EE3-4B72-B051-24EC5634CAC6}" sibTransId="{77502ADA-1F8A-4041-9F6D-44A66423DBA6}"/>
    <dgm:cxn modelId="{C9754113-9876-4A12-B9ED-433D7E2268B9}" srcId="{C57A8970-9754-4A78-8CFC-893553701241}" destId="{FE7056A2-23CC-47EB-86B6-85FF66284CE1}" srcOrd="0" destOrd="0" parTransId="{AE60FC17-2CD2-498D-B83D-F256EFC259B8}" sibTransId="{4973FB39-2B8D-42BE-8B20-D1B744494FFD}"/>
    <dgm:cxn modelId="{54DBC572-8546-45C2-A7D2-55D3AE580A6D}" type="presParOf" srcId="{4C8FEE39-DFD1-4611-8B57-B9935B0668F3}" destId="{609D132B-E80E-46A9-B71F-D248C5DA5B1E}" srcOrd="0" destOrd="0" presId="urn:microsoft.com/office/officeart/2005/8/layout/default#1"/>
    <dgm:cxn modelId="{F38F6112-CAA3-4757-BD21-F230E4B1839A}" type="presParOf" srcId="{4C8FEE39-DFD1-4611-8B57-B9935B0668F3}" destId="{475846F4-901F-41F2-BF1D-7764D67682FB}" srcOrd="1" destOrd="0" presId="urn:microsoft.com/office/officeart/2005/8/layout/default#1"/>
    <dgm:cxn modelId="{DAF691F7-1C2F-42D9-97F4-A907B143F9D3}" type="presParOf" srcId="{4C8FEE39-DFD1-4611-8B57-B9935B0668F3}" destId="{5613326F-8DCF-4D38-8E8D-B57CA9719A42}" srcOrd="2" destOrd="0" presId="urn:microsoft.com/office/officeart/2005/8/layout/default#1"/>
    <dgm:cxn modelId="{34EC081F-FE3B-4EA3-847B-486FFE5034A4}" type="presParOf" srcId="{4C8FEE39-DFD1-4611-8B57-B9935B0668F3}" destId="{ED14D71C-A1C9-4573-80BF-C93BF3B279E6}" srcOrd="3" destOrd="0" presId="urn:microsoft.com/office/officeart/2005/8/layout/default#1"/>
    <dgm:cxn modelId="{3849E2CD-2663-4832-95B9-6DE3F2356FC4}" type="presParOf" srcId="{4C8FEE39-DFD1-4611-8B57-B9935B0668F3}" destId="{68BD6254-5C47-4C40-B52F-EB9693AB7AB1}" srcOrd="4" destOrd="0" presId="urn:microsoft.com/office/officeart/2005/8/layout/default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3D4833C-368C-4B0C-BA1B-0CA3AD587E0F}" type="doc">
      <dgm:prSet loTypeId="urn:microsoft.com/office/officeart/2005/8/layout/list1#1" loCatId="list" qsTypeId="urn:microsoft.com/office/officeart/2005/8/quickstyle/simple1#3" qsCatId="simple" csTypeId="urn:microsoft.com/office/officeart/2005/8/colors/accent1_2#2" csCatId="accent1" phldr="1"/>
      <dgm:spPr/>
      <dgm:t>
        <a:bodyPr/>
        <a:lstStyle/>
        <a:p>
          <a:endParaRPr lang="es-ES"/>
        </a:p>
      </dgm:t>
    </dgm:pt>
    <dgm:pt modelId="{502C5D92-5602-4B83-B66F-B3B789342CBA}">
      <dgm:prSet phldrT="[Texto]" custT="1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es-ES" sz="2800" b="1" dirty="0" smtClean="0">
              <a:solidFill>
                <a:schemeClr val="tx1"/>
              </a:solidFill>
              <a:latin typeface="Optane"/>
            </a:rPr>
            <a:t>Social assistance </a:t>
          </a:r>
          <a:r>
            <a:rPr lang="zh-CN" altLang="en-US" sz="2800" b="1" dirty="0" smtClean="0">
              <a:solidFill>
                <a:schemeClr val="tx1"/>
              </a:solidFill>
              <a:latin typeface="Optane"/>
            </a:rPr>
            <a:t>社会救济</a:t>
          </a:r>
          <a:endParaRPr lang="es-ES" sz="2800" b="1" dirty="0">
            <a:solidFill>
              <a:schemeClr val="tx1"/>
            </a:solidFill>
            <a:latin typeface="Optane"/>
          </a:endParaRPr>
        </a:p>
      </dgm:t>
    </dgm:pt>
    <dgm:pt modelId="{CF712416-FAF8-44B5-A5A5-9A2E1B84EEA0}" type="parTrans" cxnId="{10D33C00-411B-4DE4-8E91-C0C34C6F69A0}">
      <dgm:prSet/>
      <dgm:spPr/>
      <dgm:t>
        <a:bodyPr/>
        <a:lstStyle/>
        <a:p>
          <a:endParaRPr lang="es-ES" sz="2400">
            <a:latin typeface="Optane"/>
          </a:endParaRPr>
        </a:p>
      </dgm:t>
    </dgm:pt>
    <dgm:pt modelId="{89105F4C-C876-441A-87A8-C08F1033FFC1}" type="sibTrans" cxnId="{10D33C00-411B-4DE4-8E91-C0C34C6F69A0}">
      <dgm:prSet/>
      <dgm:spPr/>
      <dgm:t>
        <a:bodyPr/>
        <a:lstStyle/>
        <a:p>
          <a:endParaRPr lang="es-ES" sz="2400">
            <a:latin typeface="Optane"/>
          </a:endParaRPr>
        </a:p>
      </dgm:t>
    </dgm:pt>
    <dgm:pt modelId="{D72E6FC9-673C-49EA-8D7C-D4E753783048}">
      <dgm:prSet phldrT="[Texto]" custT="1"/>
      <dgm:spPr>
        <a:solidFill>
          <a:srgbClr val="92D050"/>
        </a:solidFill>
      </dgm:spPr>
      <dgm:t>
        <a:bodyPr/>
        <a:lstStyle/>
        <a:p>
          <a:r>
            <a:rPr lang="es-ES" sz="2800" b="1" dirty="0" smtClean="0">
              <a:solidFill>
                <a:schemeClr val="tx1"/>
              </a:solidFill>
              <a:latin typeface="Optane"/>
            </a:rPr>
            <a:t>Medical assistance </a:t>
          </a:r>
          <a:r>
            <a:rPr lang="zh-CN" altLang="en-US" sz="2800" b="1" dirty="0" smtClean="0">
              <a:solidFill>
                <a:schemeClr val="tx1"/>
              </a:solidFill>
              <a:latin typeface="Optane"/>
            </a:rPr>
            <a:t>医疗救济</a:t>
          </a:r>
          <a:endParaRPr lang="es-ES" sz="2800" b="1" dirty="0">
            <a:solidFill>
              <a:schemeClr val="tx1"/>
            </a:solidFill>
            <a:latin typeface="Optane"/>
          </a:endParaRPr>
        </a:p>
      </dgm:t>
    </dgm:pt>
    <dgm:pt modelId="{9634E600-5CE1-4725-A8D8-6701F7DFBC85}" type="parTrans" cxnId="{30EB2A29-C1B8-4951-AC87-578AF81C815D}">
      <dgm:prSet/>
      <dgm:spPr/>
      <dgm:t>
        <a:bodyPr/>
        <a:lstStyle/>
        <a:p>
          <a:endParaRPr lang="es-ES" sz="2400">
            <a:latin typeface="Optane"/>
          </a:endParaRPr>
        </a:p>
      </dgm:t>
    </dgm:pt>
    <dgm:pt modelId="{FBFC0828-87C8-45EB-B9BE-8AA872992215}" type="sibTrans" cxnId="{30EB2A29-C1B8-4951-AC87-578AF81C815D}">
      <dgm:prSet/>
      <dgm:spPr/>
      <dgm:t>
        <a:bodyPr/>
        <a:lstStyle/>
        <a:p>
          <a:endParaRPr lang="es-ES" sz="2400">
            <a:latin typeface="Optane"/>
          </a:endParaRPr>
        </a:p>
      </dgm:t>
    </dgm:pt>
    <dgm:pt modelId="{CCA0AB0B-1025-43AB-A60D-FCAAFA882CE1}">
      <dgm:prSet custT="1"/>
      <dgm:spPr>
        <a:solidFill>
          <a:srgbClr val="FFCC00"/>
        </a:solidFill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2000" b="1" dirty="0" smtClean="0">
              <a:solidFill>
                <a:schemeClr val="tx1"/>
              </a:solidFill>
              <a:latin typeface="Optane"/>
            </a:rPr>
            <a:t>Benefits in relation to which a Member State assumes the liability for damages to persons such as victims of war and victims of crime, assassination or terrorist acts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2000" b="1" dirty="0" smtClean="0">
              <a:solidFill>
                <a:schemeClr val="tx1"/>
              </a:solidFill>
              <a:latin typeface="Optane"/>
            </a:rPr>
            <a:t>跟以下内容相关的福利：一个成员国承担人员受伤的所有责任，比如战胜、犯罪、刺杀或者恐怖主义行为的受害者</a:t>
          </a:r>
          <a:endParaRPr lang="en-US" sz="2000" b="1" dirty="0" smtClean="0">
            <a:solidFill>
              <a:schemeClr val="tx1"/>
            </a:solidFill>
            <a:latin typeface="Optane"/>
          </a:endParaRPr>
        </a:p>
      </dgm:t>
    </dgm:pt>
    <dgm:pt modelId="{B8CFFD15-9001-4F37-9294-86BD5B2A04B6}" type="parTrans" cxnId="{CEC9A218-C208-4443-946F-55CFF0F49901}">
      <dgm:prSet/>
      <dgm:spPr/>
      <dgm:t>
        <a:bodyPr/>
        <a:lstStyle/>
        <a:p>
          <a:endParaRPr lang="es-ES" sz="2400">
            <a:latin typeface="Optane"/>
          </a:endParaRPr>
        </a:p>
      </dgm:t>
    </dgm:pt>
    <dgm:pt modelId="{C435461C-825D-45B2-AB2E-E5BC9E1A1189}" type="sibTrans" cxnId="{CEC9A218-C208-4443-946F-55CFF0F49901}">
      <dgm:prSet/>
      <dgm:spPr/>
      <dgm:t>
        <a:bodyPr/>
        <a:lstStyle/>
        <a:p>
          <a:endParaRPr lang="es-ES" sz="2400">
            <a:latin typeface="Optane"/>
          </a:endParaRPr>
        </a:p>
      </dgm:t>
    </dgm:pt>
    <dgm:pt modelId="{6F950259-958C-4E46-930A-4EEF900FF5E9}" type="pres">
      <dgm:prSet presAssocID="{E3D4833C-368C-4B0C-BA1B-0CA3AD587E0F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257456A8-00F4-4A79-8452-52C2F3A6390B}" type="pres">
      <dgm:prSet presAssocID="{502C5D92-5602-4B83-B66F-B3B789342CBA}" presName="parentLin" presStyleCnt="0"/>
      <dgm:spPr/>
    </dgm:pt>
    <dgm:pt modelId="{EFF00B99-ABD1-41CE-A3E0-A4E54051B947}" type="pres">
      <dgm:prSet presAssocID="{502C5D92-5602-4B83-B66F-B3B789342CBA}" presName="parentLeftMargin" presStyleLbl="node1" presStyleIdx="0" presStyleCnt="3"/>
      <dgm:spPr/>
      <dgm:t>
        <a:bodyPr/>
        <a:lstStyle/>
        <a:p>
          <a:endParaRPr lang="es-ES"/>
        </a:p>
      </dgm:t>
    </dgm:pt>
    <dgm:pt modelId="{037BBE98-0A82-45E7-8345-532E712F4D40}" type="pres">
      <dgm:prSet presAssocID="{502C5D92-5602-4B83-B66F-B3B789342CBA}" presName="parentText" presStyleLbl="node1" presStyleIdx="0" presStyleCnt="3" custScaleX="133183" custScaleY="73866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BE918C2-55BF-4823-AD98-E3076E1B7739}" type="pres">
      <dgm:prSet presAssocID="{502C5D92-5602-4B83-B66F-B3B789342CBA}" presName="negativeSpace" presStyleCnt="0"/>
      <dgm:spPr/>
    </dgm:pt>
    <dgm:pt modelId="{FBB2BD7F-76D8-4979-B960-C5A8BCD0723E}" type="pres">
      <dgm:prSet presAssocID="{502C5D92-5602-4B83-B66F-B3B789342CBA}" presName="childText" presStyleLbl="conFgAcc1" presStyleIdx="0" presStyleCnt="3">
        <dgm:presLayoutVars>
          <dgm:bulletEnabled val="1"/>
        </dgm:presLayoutVars>
      </dgm:prSet>
      <dgm:spPr/>
    </dgm:pt>
    <dgm:pt modelId="{F2A1D86B-B1D4-4146-96A8-E3639C8D1E6E}" type="pres">
      <dgm:prSet presAssocID="{89105F4C-C876-441A-87A8-C08F1033FFC1}" presName="spaceBetweenRectangles" presStyleCnt="0"/>
      <dgm:spPr/>
    </dgm:pt>
    <dgm:pt modelId="{403FF7AD-BE28-4591-B5B1-7F0915CAC11C}" type="pres">
      <dgm:prSet presAssocID="{D72E6FC9-673C-49EA-8D7C-D4E753783048}" presName="parentLin" presStyleCnt="0"/>
      <dgm:spPr/>
    </dgm:pt>
    <dgm:pt modelId="{BBD2AF95-9E33-4775-BAF1-7E8640EADADC}" type="pres">
      <dgm:prSet presAssocID="{D72E6FC9-673C-49EA-8D7C-D4E753783048}" presName="parentLeftMargin" presStyleLbl="node1" presStyleIdx="0" presStyleCnt="3"/>
      <dgm:spPr/>
      <dgm:t>
        <a:bodyPr/>
        <a:lstStyle/>
        <a:p>
          <a:endParaRPr lang="es-ES"/>
        </a:p>
      </dgm:t>
    </dgm:pt>
    <dgm:pt modelId="{F4C0D825-9CCF-48B1-B981-7153A9C3F659}" type="pres">
      <dgm:prSet presAssocID="{D72E6FC9-673C-49EA-8D7C-D4E753783048}" presName="parentText" presStyleLbl="node1" presStyleIdx="1" presStyleCnt="3" custScaleX="133154" custScaleY="76528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82020905-7D0B-4E96-9AF7-E117B1DCA8E3}" type="pres">
      <dgm:prSet presAssocID="{D72E6FC9-673C-49EA-8D7C-D4E753783048}" presName="negativeSpace" presStyleCnt="0"/>
      <dgm:spPr/>
    </dgm:pt>
    <dgm:pt modelId="{083AEBBE-6FF0-4EEB-90FD-761D878797BD}" type="pres">
      <dgm:prSet presAssocID="{D72E6FC9-673C-49EA-8D7C-D4E753783048}" presName="childText" presStyleLbl="conFgAcc1" presStyleIdx="1" presStyleCnt="3">
        <dgm:presLayoutVars>
          <dgm:bulletEnabled val="1"/>
        </dgm:presLayoutVars>
      </dgm:prSet>
      <dgm:spPr/>
    </dgm:pt>
    <dgm:pt modelId="{6C54CAC8-4B6A-4581-A48A-734D40E75CB5}" type="pres">
      <dgm:prSet presAssocID="{FBFC0828-87C8-45EB-B9BE-8AA872992215}" presName="spaceBetweenRectangles" presStyleCnt="0"/>
      <dgm:spPr/>
    </dgm:pt>
    <dgm:pt modelId="{57211CC8-213D-4DE5-B8B5-DAB27774E6C3}" type="pres">
      <dgm:prSet presAssocID="{CCA0AB0B-1025-43AB-A60D-FCAAFA882CE1}" presName="parentLin" presStyleCnt="0"/>
      <dgm:spPr/>
    </dgm:pt>
    <dgm:pt modelId="{BB07F147-22AF-4AB5-91EF-04A41FD082A7}" type="pres">
      <dgm:prSet presAssocID="{CCA0AB0B-1025-43AB-A60D-FCAAFA882CE1}" presName="parentLeftMargin" presStyleLbl="node1" presStyleIdx="1" presStyleCnt="3"/>
      <dgm:spPr/>
      <dgm:t>
        <a:bodyPr/>
        <a:lstStyle/>
        <a:p>
          <a:endParaRPr lang="es-ES"/>
        </a:p>
      </dgm:t>
    </dgm:pt>
    <dgm:pt modelId="{5EEB924E-2D77-4F18-A471-537E8B9FD180}" type="pres">
      <dgm:prSet presAssocID="{CCA0AB0B-1025-43AB-A60D-FCAAFA882CE1}" presName="parentText" presStyleLbl="node1" presStyleIdx="2" presStyleCnt="3" custScaleX="134041" custScaleY="158342" custLinFactNeighborX="-763" custLinFactNeighborY="1771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3F788E7-5EE6-42B6-BE43-BAF482794100}" type="pres">
      <dgm:prSet presAssocID="{CCA0AB0B-1025-43AB-A60D-FCAAFA882CE1}" presName="negativeSpace" presStyleCnt="0"/>
      <dgm:spPr/>
    </dgm:pt>
    <dgm:pt modelId="{607D6F3A-07F3-49B7-BFA6-BB97E5B260F1}" type="pres">
      <dgm:prSet presAssocID="{CCA0AB0B-1025-43AB-A60D-FCAAFA882CE1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0819F625-A862-43A5-ACF3-428942A1966D}" type="presOf" srcId="{CCA0AB0B-1025-43AB-A60D-FCAAFA882CE1}" destId="{5EEB924E-2D77-4F18-A471-537E8B9FD180}" srcOrd="1" destOrd="0" presId="urn:microsoft.com/office/officeart/2005/8/layout/list1#1"/>
    <dgm:cxn modelId="{481F8FC1-ACAF-4337-A372-DC21791E3D6F}" type="presOf" srcId="{D72E6FC9-673C-49EA-8D7C-D4E753783048}" destId="{BBD2AF95-9E33-4775-BAF1-7E8640EADADC}" srcOrd="0" destOrd="0" presId="urn:microsoft.com/office/officeart/2005/8/layout/list1#1"/>
    <dgm:cxn modelId="{CEC9A218-C208-4443-946F-55CFF0F49901}" srcId="{E3D4833C-368C-4B0C-BA1B-0CA3AD587E0F}" destId="{CCA0AB0B-1025-43AB-A60D-FCAAFA882CE1}" srcOrd="2" destOrd="0" parTransId="{B8CFFD15-9001-4F37-9294-86BD5B2A04B6}" sibTransId="{C435461C-825D-45B2-AB2E-E5BC9E1A1189}"/>
    <dgm:cxn modelId="{FA166D2B-D546-4E1E-A36D-6E6B66C0CC0A}" type="presOf" srcId="{E3D4833C-368C-4B0C-BA1B-0CA3AD587E0F}" destId="{6F950259-958C-4E46-930A-4EEF900FF5E9}" srcOrd="0" destOrd="0" presId="urn:microsoft.com/office/officeart/2005/8/layout/list1#1"/>
    <dgm:cxn modelId="{146634B4-AEFC-4D20-A11D-E5B9D09D4619}" type="presOf" srcId="{502C5D92-5602-4B83-B66F-B3B789342CBA}" destId="{EFF00B99-ABD1-41CE-A3E0-A4E54051B947}" srcOrd="0" destOrd="0" presId="urn:microsoft.com/office/officeart/2005/8/layout/list1#1"/>
    <dgm:cxn modelId="{A3A819C1-2C04-4097-81B6-6955082D4E31}" type="presOf" srcId="{502C5D92-5602-4B83-B66F-B3B789342CBA}" destId="{037BBE98-0A82-45E7-8345-532E712F4D40}" srcOrd="1" destOrd="0" presId="urn:microsoft.com/office/officeart/2005/8/layout/list1#1"/>
    <dgm:cxn modelId="{10D33C00-411B-4DE4-8E91-C0C34C6F69A0}" srcId="{E3D4833C-368C-4B0C-BA1B-0CA3AD587E0F}" destId="{502C5D92-5602-4B83-B66F-B3B789342CBA}" srcOrd="0" destOrd="0" parTransId="{CF712416-FAF8-44B5-A5A5-9A2E1B84EEA0}" sibTransId="{89105F4C-C876-441A-87A8-C08F1033FFC1}"/>
    <dgm:cxn modelId="{8D584B69-07E0-41FF-8897-FACF4B81B21E}" type="presOf" srcId="{CCA0AB0B-1025-43AB-A60D-FCAAFA882CE1}" destId="{BB07F147-22AF-4AB5-91EF-04A41FD082A7}" srcOrd="0" destOrd="0" presId="urn:microsoft.com/office/officeart/2005/8/layout/list1#1"/>
    <dgm:cxn modelId="{30EB2A29-C1B8-4951-AC87-578AF81C815D}" srcId="{E3D4833C-368C-4B0C-BA1B-0CA3AD587E0F}" destId="{D72E6FC9-673C-49EA-8D7C-D4E753783048}" srcOrd="1" destOrd="0" parTransId="{9634E600-5CE1-4725-A8D8-6701F7DFBC85}" sibTransId="{FBFC0828-87C8-45EB-B9BE-8AA872992215}"/>
    <dgm:cxn modelId="{988D759A-8837-4219-AEFF-6EE13D515585}" type="presOf" srcId="{D72E6FC9-673C-49EA-8D7C-D4E753783048}" destId="{F4C0D825-9CCF-48B1-B981-7153A9C3F659}" srcOrd="1" destOrd="0" presId="urn:microsoft.com/office/officeart/2005/8/layout/list1#1"/>
    <dgm:cxn modelId="{69FC68E5-BCD0-4A4D-9873-5093D113E92C}" type="presParOf" srcId="{6F950259-958C-4E46-930A-4EEF900FF5E9}" destId="{257456A8-00F4-4A79-8452-52C2F3A6390B}" srcOrd="0" destOrd="0" presId="urn:microsoft.com/office/officeart/2005/8/layout/list1#1"/>
    <dgm:cxn modelId="{6D8A6CED-C114-42ED-AF65-52CF627D2ABB}" type="presParOf" srcId="{257456A8-00F4-4A79-8452-52C2F3A6390B}" destId="{EFF00B99-ABD1-41CE-A3E0-A4E54051B947}" srcOrd="0" destOrd="0" presId="urn:microsoft.com/office/officeart/2005/8/layout/list1#1"/>
    <dgm:cxn modelId="{CE18EF39-BBC9-47E7-8CBF-337244BA97A7}" type="presParOf" srcId="{257456A8-00F4-4A79-8452-52C2F3A6390B}" destId="{037BBE98-0A82-45E7-8345-532E712F4D40}" srcOrd="1" destOrd="0" presId="urn:microsoft.com/office/officeart/2005/8/layout/list1#1"/>
    <dgm:cxn modelId="{BE508283-D196-4989-95C9-2EECDEAA3A7B}" type="presParOf" srcId="{6F950259-958C-4E46-930A-4EEF900FF5E9}" destId="{ABE918C2-55BF-4823-AD98-E3076E1B7739}" srcOrd="1" destOrd="0" presId="urn:microsoft.com/office/officeart/2005/8/layout/list1#1"/>
    <dgm:cxn modelId="{03A9F629-4026-4E54-8255-8F42ED594232}" type="presParOf" srcId="{6F950259-958C-4E46-930A-4EEF900FF5E9}" destId="{FBB2BD7F-76D8-4979-B960-C5A8BCD0723E}" srcOrd="2" destOrd="0" presId="urn:microsoft.com/office/officeart/2005/8/layout/list1#1"/>
    <dgm:cxn modelId="{3C692B5B-1641-40F4-B392-7CBE6C4FED74}" type="presParOf" srcId="{6F950259-958C-4E46-930A-4EEF900FF5E9}" destId="{F2A1D86B-B1D4-4146-96A8-E3639C8D1E6E}" srcOrd="3" destOrd="0" presId="urn:microsoft.com/office/officeart/2005/8/layout/list1#1"/>
    <dgm:cxn modelId="{0649BF8A-EA82-4F34-B9D0-AAECA72B37DE}" type="presParOf" srcId="{6F950259-958C-4E46-930A-4EEF900FF5E9}" destId="{403FF7AD-BE28-4591-B5B1-7F0915CAC11C}" srcOrd="4" destOrd="0" presId="urn:microsoft.com/office/officeart/2005/8/layout/list1#1"/>
    <dgm:cxn modelId="{3B13461E-7AB9-416A-A53B-CC4619E1F855}" type="presParOf" srcId="{403FF7AD-BE28-4591-B5B1-7F0915CAC11C}" destId="{BBD2AF95-9E33-4775-BAF1-7E8640EADADC}" srcOrd="0" destOrd="0" presId="urn:microsoft.com/office/officeart/2005/8/layout/list1#1"/>
    <dgm:cxn modelId="{AD92F7BC-8DD8-4257-BDD6-57DB69C359D6}" type="presParOf" srcId="{403FF7AD-BE28-4591-B5B1-7F0915CAC11C}" destId="{F4C0D825-9CCF-48B1-B981-7153A9C3F659}" srcOrd="1" destOrd="0" presId="urn:microsoft.com/office/officeart/2005/8/layout/list1#1"/>
    <dgm:cxn modelId="{4FAACF37-10E6-4DEE-B423-FE507219289D}" type="presParOf" srcId="{6F950259-958C-4E46-930A-4EEF900FF5E9}" destId="{82020905-7D0B-4E96-9AF7-E117B1DCA8E3}" srcOrd="5" destOrd="0" presId="urn:microsoft.com/office/officeart/2005/8/layout/list1#1"/>
    <dgm:cxn modelId="{ED247D5E-C480-4CA8-9938-5A173FB38F34}" type="presParOf" srcId="{6F950259-958C-4E46-930A-4EEF900FF5E9}" destId="{083AEBBE-6FF0-4EEB-90FD-761D878797BD}" srcOrd="6" destOrd="0" presId="urn:microsoft.com/office/officeart/2005/8/layout/list1#1"/>
    <dgm:cxn modelId="{8B876BC4-5861-46C7-900A-8A299BFF34C8}" type="presParOf" srcId="{6F950259-958C-4E46-930A-4EEF900FF5E9}" destId="{6C54CAC8-4B6A-4581-A48A-734D40E75CB5}" srcOrd="7" destOrd="0" presId="urn:microsoft.com/office/officeart/2005/8/layout/list1#1"/>
    <dgm:cxn modelId="{F6B38E05-016B-4FC0-A5C7-8FEF3E8BFA57}" type="presParOf" srcId="{6F950259-958C-4E46-930A-4EEF900FF5E9}" destId="{57211CC8-213D-4DE5-B8B5-DAB27774E6C3}" srcOrd="8" destOrd="0" presId="urn:microsoft.com/office/officeart/2005/8/layout/list1#1"/>
    <dgm:cxn modelId="{D478D100-9AFF-4078-915D-5DC872EF0636}" type="presParOf" srcId="{57211CC8-213D-4DE5-B8B5-DAB27774E6C3}" destId="{BB07F147-22AF-4AB5-91EF-04A41FD082A7}" srcOrd="0" destOrd="0" presId="urn:microsoft.com/office/officeart/2005/8/layout/list1#1"/>
    <dgm:cxn modelId="{B92A5332-0D03-4F25-B45C-9313BDD8DC7A}" type="presParOf" srcId="{57211CC8-213D-4DE5-B8B5-DAB27774E6C3}" destId="{5EEB924E-2D77-4F18-A471-537E8B9FD180}" srcOrd="1" destOrd="0" presId="urn:microsoft.com/office/officeart/2005/8/layout/list1#1"/>
    <dgm:cxn modelId="{52083451-2781-45F5-8164-F0A281E2DF0B}" type="presParOf" srcId="{6F950259-958C-4E46-930A-4EEF900FF5E9}" destId="{B3F788E7-5EE6-42B6-BE43-BAF482794100}" srcOrd="9" destOrd="0" presId="urn:microsoft.com/office/officeart/2005/8/layout/list1#1"/>
    <dgm:cxn modelId="{D3DAD59D-2E3C-40AC-88EF-3C85CA73E6E0}" type="presParOf" srcId="{6F950259-958C-4E46-930A-4EEF900FF5E9}" destId="{607D6F3A-07F3-49B7-BFA6-BB97E5B260F1}" srcOrd="10" destOrd="0" presId="urn:microsoft.com/office/officeart/2005/8/layout/list1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FC2AF9D2-2774-42F0-A9C0-289CDDD99667}" type="doc">
      <dgm:prSet loTypeId="urn:microsoft.com/office/officeart/2005/8/layout/hierarchy2#1" loCatId="hierarchy" qsTypeId="urn:microsoft.com/office/officeart/2005/8/quickstyle/simple1#4" qsCatId="simple" csTypeId="urn:microsoft.com/office/officeart/2005/8/colors/accent1_2#3" csCatId="accent1" phldr="1"/>
      <dgm:spPr/>
      <dgm:t>
        <a:bodyPr/>
        <a:lstStyle/>
        <a:p>
          <a:endParaRPr lang="es-ES"/>
        </a:p>
      </dgm:t>
    </dgm:pt>
    <dgm:pt modelId="{49B35928-201C-4B5B-B7D5-7B3919B31E28}">
      <dgm:prSet phldrT="[Texto]" custT="1"/>
      <dgm:spPr>
        <a:solidFill>
          <a:srgbClr val="FF0000"/>
        </a:solidFill>
      </dgm:spPr>
      <dgm:t>
        <a:bodyPr/>
        <a:lstStyle/>
        <a:p>
          <a:r>
            <a:rPr lang="es-ES" sz="2000" b="1" dirty="0" smtClean="0">
              <a:solidFill>
                <a:schemeClr val="tx1"/>
              </a:solidFill>
              <a:latin typeface="Optane"/>
            </a:rPr>
            <a:t>EXCEPTIONS</a:t>
          </a:r>
        </a:p>
        <a:p>
          <a:r>
            <a:rPr lang="zh-CN" altLang="en-US" sz="2000" b="1" dirty="0" smtClean="0">
              <a:solidFill>
                <a:schemeClr val="tx1"/>
              </a:solidFill>
              <a:latin typeface="Optane"/>
            </a:rPr>
            <a:t>例外</a:t>
          </a:r>
          <a:endParaRPr lang="es-ES" sz="2000" b="1" dirty="0" smtClean="0">
            <a:solidFill>
              <a:schemeClr val="tx1"/>
            </a:solidFill>
            <a:latin typeface="Optane"/>
          </a:endParaRPr>
        </a:p>
      </dgm:t>
    </dgm:pt>
    <dgm:pt modelId="{E2619787-8F6F-4508-BC8C-DAC01B87D991}" type="parTrans" cxnId="{F34FD402-7604-48CF-94BF-9CE69382B2CE}">
      <dgm:prSet/>
      <dgm:spPr/>
      <dgm:t>
        <a:bodyPr/>
        <a:lstStyle/>
        <a:p>
          <a:endParaRPr lang="es-ES" sz="2400">
            <a:latin typeface="Optane"/>
          </a:endParaRPr>
        </a:p>
      </dgm:t>
    </dgm:pt>
    <dgm:pt modelId="{54AA8EF1-1B41-48AB-B820-F12A67E504D6}" type="sibTrans" cxnId="{F34FD402-7604-48CF-94BF-9CE69382B2CE}">
      <dgm:prSet/>
      <dgm:spPr/>
      <dgm:t>
        <a:bodyPr/>
        <a:lstStyle/>
        <a:p>
          <a:endParaRPr lang="es-ES" sz="2400">
            <a:latin typeface="Optane"/>
          </a:endParaRPr>
        </a:p>
      </dgm:t>
    </dgm:pt>
    <dgm:pt modelId="{C97448D9-261C-46B6-AD5F-386B2C4EF05D}">
      <dgm:prSet phldrT="[Texto]" custT="1"/>
      <dgm:spPr>
        <a:solidFill>
          <a:srgbClr val="E39913"/>
        </a:solidFill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s-ES" sz="2000" b="1" dirty="0" smtClean="0">
              <a:solidFill>
                <a:schemeClr val="tx1"/>
              </a:solidFill>
              <a:latin typeface="Optane"/>
            </a:rPr>
            <a:t>FEATURES OF THE ACTIVITIES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2000" b="1" dirty="0" smtClean="0">
              <a:solidFill>
                <a:schemeClr val="tx1"/>
              </a:solidFill>
              <a:latin typeface="Optane"/>
            </a:rPr>
            <a:t>活动的特征</a:t>
          </a:r>
          <a:endParaRPr lang="es-ES" sz="2000" b="1" dirty="0" smtClean="0">
            <a:solidFill>
              <a:schemeClr val="tx1"/>
            </a:solidFill>
            <a:latin typeface="Optane"/>
          </a:endParaRPr>
        </a:p>
      </dgm:t>
    </dgm:pt>
    <dgm:pt modelId="{CC2B9F46-22B9-425F-8429-80520AB98F87}" type="parTrans" cxnId="{16389AD5-17F4-435A-8BF4-D0E52074F006}">
      <dgm:prSet custT="1"/>
      <dgm:spPr/>
      <dgm:t>
        <a:bodyPr/>
        <a:lstStyle/>
        <a:p>
          <a:endParaRPr lang="es-ES" sz="2400">
            <a:latin typeface="Optane"/>
          </a:endParaRPr>
        </a:p>
      </dgm:t>
    </dgm:pt>
    <dgm:pt modelId="{1C7C386F-8687-4525-8F03-62ED2CD8219C}" type="sibTrans" cxnId="{16389AD5-17F4-435A-8BF4-D0E52074F006}">
      <dgm:prSet/>
      <dgm:spPr/>
      <dgm:t>
        <a:bodyPr/>
        <a:lstStyle/>
        <a:p>
          <a:endParaRPr lang="es-ES" sz="2400">
            <a:latin typeface="Optane"/>
          </a:endParaRPr>
        </a:p>
      </dgm:t>
    </dgm:pt>
    <dgm:pt modelId="{C242A50A-2373-44F0-A923-9038360CD8D8}">
      <dgm:prSet phldrT="[Texto]" custT="1"/>
      <dgm:spPr>
        <a:solidFill>
          <a:srgbClr val="FFCC00"/>
        </a:solidFill>
      </dgm:spPr>
      <dgm:t>
        <a:bodyPr/>
        <a:lstStyle/>
        <a:p>
          <a:r>
            <a:rPr lang="es-ES" sz="2000" dirty="0" smtClean="0">
              <a:solidFill>
                <a:schemeClr val="tx1"/>
              </a:solidFill>
              <a:latin typeface="Optane"/>
            </a:rPr>
            <a:t>Posting</a:t>
          </a:r>
        </a:p>
        <a:p>
          <a:r>
            <a:rPr lang="zh-CN" altLang="en-US" sz="2000" dirty="0" smtClean="0">
              <a:solidFill>
                <a:schemeClr val="tx1"/>
              </a:solidFill>
              <a:latin typeface="Optane"/>
            </a:rPr>
            <a:t>发布</a:t>
          </a:r>
          <a:endParaRPr lang="es-ES" sz="2000" dirty="0" smtClean="0">
            <a:solidFill>
              <a:schemeClr val="tx1"/>
            </a:solidFill>
            <a:latin typeface="Optane"/>
          </a:endParaRPr>
        </a:p>
      </dgm:t>
    </dgm:pt>
    <dgm:pt modelId="{EF59C355-F507-43C8-8057-9A160716C515}" type="parTrans" cxnId="{6959488E-D1CC-4DE1-8273-D6B6839B3844}">
      <dgm:prSet custT="1"/>
      <dgm:spPr/>
      <dgm:t>
        <a:bodyPr/>
        <a:lstStyle/>
        <a:p>
          <a:endParaRPr lang="es-ES" sz="2400">
            <a:latin typeface="Optane"/>
          </a:endParaRPr>
        </a:p>
      </dgm:t>
    </dgm:pt>
    <dgm:pt modelId="{185168CE-604D-43BB-942A-31B78753DEE1}" type="sibTrans" cxnId="{6959488E-D1CC-4DE1-8273-D6B6839B3844}">
      <dgm:prSet/>
      <dgm:spPr/>
      <dgm:t>
        <a:bodyPr/>
        <a:lstStyle/>
        <a:p>
          <a:endParaRPr lang="es-ES" sz="2400">
            <a:latin typeface="Optane"/>
          </a:endParaRPr>
        </a:p>
      </dgm:t>
    </dgm:pt>
    <dgm:pt modelId="{7D472F8F-ABBF-4A46-8DFC-D0D37A612036}">
      <dgm:prSet phldrT="[Texto]" custT="1"/>
      <dgm:spPr>
        <a:solidFill>
          <a:srgbClr val="FFCC00"/>
        </a:solidFill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s-ES" sz="2000" dirty="0" smtClean="0">
              <a:solidFill>
                <a:schemeClr val="tx1"/>
              </a:solidFill>
              <a:latin typeface="Optane"/>
            </a:rPr>
            <a:t>Simultaneous activities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2000" dirty="0" smtClean="0">
              <a:solidFill>
                <a:schemeClr val="tx1"/>
              </a:solidFill>
              <a:latin typeface="Optane"/>
            </a:rPr>
            <a:t>同时活动</a:t>
          </a:r>
          <a:endParaRPr lang="es-ES" sz="2000" dirty="0" smtClean="0">
            <a:solidFill>
              <a:schemeClr val="tx1"/>
            </a:solidFill>
            <a:latin typeface="Optane"/>
          </a:endParaRPr>
        </a:p>
      </dgm:t>
    </dgm:pt>
    <dgm:pt modelId="{8D7FF43C-C7D9-4738-BFFD-2670DF3A63D8}" type="parTrans" cxnId="{64B65525-45D5-4B35-8389-C41818EFD8C0}">
      <dgm:prSet custT="1"/>
      <dgm:spPr/>
      <dgm:t>
        <a:bodyPr/>
        <a:lstStyle/>
        <a:p>
          <a:endParaRPr lang="es-ES" sz="2400">
            <a:latin typeface="Optane"/>
          </a:endParaRPr>
        </a:p>
      </dgm:t>
    </dgm:pt>
    <dgm:pt modelId="{BBC0826A-CA70-46B1-B5E0-BAF36121AD16}" type="sibTrans" cxnId="{64B65525-45D5-4B35-8389-C41818EFD8C0}">
      <dgm:prSet/>
      <dgm:spPr/>
      <dgm:t>
        <a:bodyPr/>
        <a:lstStyle/>
        <a:p>
          <a:endParaRPr lang="es-ES" sz="2400">
            <a:latin typeface="Optane"/>
          </a:endParaRPr>
        </a:p>
      </dgm:t>
    </dgm:pt>
    <dgm:pt modelId="{3F906735-0919-465C-BC58-BDEDBEB71E7C}">
      <dgm:prSet phldrT="[Texto]" custT="1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s-ES" sz="1800" b="1" dirty="0" smtClean="0">
              <a:solidFill>
                <a:schemeClr val="tx1"/>
              </a:solidFill>
              <a:latin typeface="Optane"/>
            </a:rPr>
            <a:t>CATEGORY OF WORKERS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zh-CN" altLang="en-US" sz="1800" b="1" dirty="0" smtClean="0">
              <a:solidFill>
                <a:schemeClr val="tx1"/>
              </a:solidFill>
              <a:latin typeface="Optane"/>
            </a:rPr>
            <a:t>工人的种类</a:t>
          </a:r>
          <a:endParaRPr lang="es-ES" sz="1800" b="1" dirty="0" smtClean="0">
            <a:solidFill>
              <a:schemeClr val="tx1"/>
            </a:solidFill>
            <a:latin typeface="Optane"/>
          </a:endParaRPr>
        </a:p>
      </dgm:t>
    </dgm:pt>
    <dgm:pt modelId="{43A1C40E-B5EC-40FC-86D9-01CCDD6295C1}" type="parTrans" cxnId="{BF3EB832-8268-4858-9D20-C4FD340F75A5}">
      <dgm:prSet custT="1"/>
      <dgm:spPr/>
      <dgm:t>
        <a:bodyPr/>
        <a:lstStyle/>
        <a:p>
          <a:endParaRPr lang="es-ES" sz="2400">
            <a:latin typeface="Optane"/>
          </a:endParaRPr>
        </a:p>
      </dgm:t>
    </dgm:pt>
    <dgm:pt modelId="{45A6629C-338C-443E-BF0F-C23DAC88ADBB}" type="sibTrans" cxnId="{BF3EB832-8268-4858-9D20-C4FD340F75A5}">
      <dgm:prSet/>
      <dgm:spPr/>
      <dgm:t>
        <a:bodyPr/>
        <a:lstStyle/>
        <a:p>
          <a:endParaRPr lang="es-ES" sz="2400">
            <a:latin typeface="Optane"/>
          </a:endParaRPr>
        </a:p>
      </dgm:t>
    </dgm:pt>
    <dgm:pt modelId="{FC9E7A6E-49AF-4D38-9F4D-F19392A28038}">
      <dgm:prSet phldrT="[Texto]" custT="1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pPr algn="l">
            <a:lnSpc>
              <a:spcPct val="100000"/>
            </a:lnSpc>
            <a:spcAft>
              <a:spcPts val="0"/>
            </a:spcAft>
          </a:pPr>
          <a:r>
            <a:rPr lang="es-ES" sz="1600" dirty="0" smtClean="0">
              <a:solidFill>
                <a:schemeClr val="tx1"/>
              </a:solidFill>
              <a:latin typeface="Optane"/>
            </a:rPr>
            <a:t>- Civil servants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es-ES" sz="1600" dirty="0" smtClean="0">
              <a:solidFill>
                <a:schemeClr val="tx1"/>
              </a:solidFill>
              <a:latin typeface="Optane"/>
            </a:rPr>
            <a:t>- Unemployed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es-ES" sz="1600" dirty="0" smtClean="0">
              <a:solidFill>
                <a:schemeClr val="tx1"/>
              </a:solidFill>
              <a:latin typeface="Optane"/>
            </a:rPr>
            <a:t>- </a:t>
          </a:r>
          <a:r>
            <a:rPr lang="es-ES" sz="1600" dirty="0" err="1" smtClean="0">
              <a:solidFill>
                <a:schemeClr val="tx1"/>
              </a:solidFill>
              <a:latin typeface="Optane"/>
            </a:rPr>
            <a:t>Military</a:t>
          </a:r>
          <a:r>
            <a:rPr lang="es-ES" sz="1600" dirty="0" smtClean="0">
              <a:solidFill>
                <a:schemeClr val="tx1"/>
              </a:solidFill>
              <a:latin typeface="Optane"/>
            </a:rPr>
            <a:t> </a:t>
          </a:r>
          <a:r>
            <a:rPr lang="es-ES" sz="1600" dirty="0" err="1" smtClean="0">
              <a:solidFill>
                <a:schemeClr val="tx1"/>
              </a:solidFill>
              <a:latin typeface="Optane"/>
            </a:rPr>
            <a:t>service</a:t>
          </a:r>
          <a:endParaRPr lang="es-ES" sz="1600" dirty="0" smtClean="0">
            <a:solidFill>
              <a:schemeClr val="tx1"/>
            </a:solidFill>
            <a:latin typeface="Optane"/>
          </a:endParaRP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es-ES" sz="1600" dirty="0" smtClean="0">
              <a:solidFill>
                <a:schemeClr val="tx1"/>
              </a:solidFill>
              <a:latin typeface="Optane"/>
            </a:rPr>
            <a:t>- Inative persons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zh-CN" altLang="en-US" sz="1600" dirty="0" smtClean="0">
              <a:solidFill>
                <a:schemeClr val="tx1"/>
              </a:solidFill>
              <a:latin typeface="Optane"/>
            </a:rPr>
            <a:t>公务员</a:t>
          </a:r>
          <a:endParaRPr lang="en-US" altLang="zh-CN" sz="1600" dirty="0" smtClean="0">
            <a:solidFill>
              <a:schemeClr val="tx1"/>
            </a:solidFill>
            <a:latin typeface="Optane"/>
          </a:endParaRP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zh-CN" altLang="en-US" sz="1600" dirty="0" smtClean="0">
              <a:solidFill>
                <a:schemeClr val="tx1"/>
              </a:solidFill>
              <a:latin typeface="Optane"/>
            </a:rPr>
            <a:t>无业人员</a:t>
          </a:r>
          <a:endParaRPr lang="en-US" altLang="zh-CN" sz="1600" dirty="0" smtClean="0">
            <a:solidFill>
              <a:schemeClr val="tx1"/>
            </a:solidFill>
            <a:latin typeface="Optane"/>
          </a:endParaRP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zh-CN" altLang="en-US" sz="1600" dirty="0" smtClean="0">
              <a:solidFill>
                <a:schemeClr val="tx1"/>
              </a:solidFill>
              <a:latin typeface="Optane"/>
            </a:rPr>
            <a:t>军人</a:t>
          </a:r>
          <a:endParaRPr lang="es-ES" sz="2400" dirty="0" smtClean="0">
            <a:solidFill>
              <a:schemeClr val="tx1"/>
            </a:solidFill>
            <a:latin typeface="Optane"/>
          </a:endParaRPr>
        </a:p>
      </dgm:t>
    </dgm:pt>
    <dgm:pt modelId="{F713F997-6404-4A18-8AD1-A773F7DBE0EB}" type="parTrans" cxnId="{2CC27D39-21D7-4904-B225-65DD5E42E6DD}">
      <dgm:prSet/>
      <dgm:spPr/>
      <dgm:t>
        <a:bodyPr/>
        <a:lstStyle/>
        <a:p>
          <a:endParaRPr lang="es-ES"/>
        </a:p>
      </dgm:t>
    </dgm:pt>
    <dgm:pt modelId="{E8752780-5B71-4E82-AE4C-AAAC8DA47452}" type="sibTrans" cxnId="{2CC27D39-21D7-4904-B225-65DD5E42E6DD}">
      <dgm:prSet/>
      <dgm:spPr/>
      <dgm:t>
        <a:bodyPr/>
        <a:lstStyle/>
        <a:p>
          <a:endParaRPr lang="es-ES" sz="2400">
            <a:latin typeface="Optane"/>
          </a:endParaRPr>
        </a:p>
      </dgm:t>
    </dgm:pt>
    <dgm:pt modelId="{AFE80B68-3A94-40D9-B3C1-DA355CDED1B5}" type="pres">
      <dgm:prSet presAssocID="{FC2AF9D2-2774-42F0-A9C0-289CDDD99667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A0FE18C4-19D1-445C-9204-5F2D3A89A7F7}" type="pres">
      <dgm:prSet presAssocID="{49B35928-201C-4B5B-B7D5-7B3919B31E28}" presName="root1" presStyleCnt="0"/>
      <dgm:spPr/>
    </dgm:pt>
    <dgm:pt modelId="{F16777D5-F22F-453F-A571-E7E86AF88DC7}" type="pres">
      <dgm:prSet presAssocID="{49B35928-201C-4B5B-B7D5-7B3919B31E28}" presName="LevelOneTextNode" presStyleLbl="node0" presStyleIdx="0" presStyleCnt="1" custScaleY="144409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6E23FC50-4C0F-4E6E-830E-38D5D20AD065}" type="pres">
      <dgm:prSet presAssocID="{49B35928-201C-4B5B-B7D5-7B3919B31E28}" presName="level2hierChild" presStyleCnt="0"/>
      <dgm:spPr/>
    </dgm:pt>
    <dgm:pt modelId="{1F2D27CB-6AD4-4AA3-81B3-34564ADAB99F}" type="pres">
      <dgm:prSet presAssocID="{CC2B9F46-22B9-425F-8429-80520AB98F87}" presName="conn2-1" presStyleLbl="parChTrans1D2" presStyleIdx="0" presStyleCnt="2"/>
      <dgm:spPr/>
      <dgm:t>
        <a:bodyPr/>
        <a:lstStyle/>
        <a:p>
          <a:endParaRPr lang="es-ES"/>
        </a:p>
      </dgm:t>
    </dgm:pt>
    <dgm:pt modelId="{66D2B663-A258-4BE9-9F4B-7F1B1158DAD2}" type="pres">
      <dgm:prSet presAssocID="{CC2B9F46-22B9-425F-8429-80520AB98F87}" presName="connTx" presStyleLbl="parChTrans1D2" presStyleIdx="0" presStyleCnt="2"/>
      <dgm:spPr/>
      <dgm:t>
        <a:bodyPr/>
        <a:lstStyle/>
        <a:p>
          <a:endParaRPr lang="es-ES"/>
        </a:p>
      </dgm:t>
    </dgm:pt>
    <dgm:pt modelId="{C0E1E84A-CD2C-4CEF-912A-2A82A15EEC85}" type="pres">
      <dgm:prSet presAssocID="{C97448D9-261C-46B6-AD5F-386B2C4EF05D}" presName="root2" presStyleCnt="0"/>
      <dgm:spPr/>
    </dgm:pt>
    <dgm:pt modelId="{30C0E45E-5303-4749-9D15-1730D5322BD4}" type="pres">
      <dgm:prSet presAssocID="{C97448D9-261C-46B6-AD5F-386B2C4EF05D}" presName="LevelTwoTextNode" presStyleLbl="node2" presStyleIdx="0" presStyleCnt="2" custScaleY="153194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9EEFF9D8-B952-4629-8617-8AA7F6FC081D}" type="pres">
      <dgm:prSet presAssocID="{C97448D9-261C-46B6-AD5F-386B2C4EF05D}" presName="level3hierChild" presStyleCnt="0"/>
      <dgm:spPr/>
    </dgm:pt>
    <dgm:pt modelId="{B9EFBA7D-86B8-4750-9C5C-7B45130A411B}" type="pres">
      <dgm:prSet presAssocID="{EF59C355-F507-43C8-8057-9A160716C515}" presName="conn2-1" presStyleLbl="parChTrans1D3" presStyleIdx="0" presStyleCnt="3"/>
      <dgm:spPr/>
      <dgm:t>
        <a:bodyPr/>
        <a:lstStyle/>
        <a:p>
          <a:endParaRPr lang="es-ES"/>
        </a:p>
      </dgm:t>
    </dgm:pt>
    <dgm:pt modelId="{2A902929-00F1-42F4-A52B-E6BEED7C8390}" type="pres">
      <dgm:prSet presAssocID="{EF59C355-F507-43C8-8057-9A160716C515}" presName="connTx" presStyleLbl="parChTrans1D3" presStyleIdx="0" presStyleCnt="3"/>
      <dgm:spPr/>
      <dgm:t>
        <a:bodyPr/>
        <a:lstStyle/>
        <a:p>
          <a:endParaRPr lang="es-ES"/>
        </a:p>
      </dgm:t>
    </dgm:pt>
    <dgm:pt modelId="{4161E039-4228-4BD2-9291-5ED71DD1DECE}" type="pres">
      <dgm:prSet presAssocID="{C242A50A-2373-44F0-A923-9038360CD8D8}" presName="root2" presStyleCnt="0"/>
      <dgm:spPr/>
    </dgm:pt>
    <dgm:pt modelId="{2098EFB4-54A8-42EC-96FF-8111A6FAEA60}" type="pres">
      <dgm:prSet presAssocID="{C242A50A-2373-44F0-A923-9038360CD8D8}" presName="LevelTwoTextNode" presStyleLbl="node3" presStyleIdx="0" presStyleCnt="3" custLinFactNeighborX="461" custLinFactNeighborY="-12627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9C5E01D5-7135-40CB-8344-F37277C82B51}" type="pres">
      <dgm:prSet presAssocID="{C242A50A-2373-44F0-A923-9038360CD8D8}" presName="level3hierChild" presStyleCnt="0"/>
      <dgm:spPr/>
    </dgm:pt>
    <dgm:pt modelId="{87467DCD-03BE-4C43-8D43-F2D28E59D6E3}" type="pres">
      <dgm:prSet presAssocID="{8D7FF43C-C7D9-4738-BFFD-2670DF3A63D8}" presName="conn2-1" presStyleLbl="parChTrans1D3" presStyleIdx="1" presStyleCnt="3"/>
      <dgm:spPr/>
      <dgm:t>
        <a:bodyPr/>
        <a:lstStyle/>
        <a:p>
          <a:endParaRPr lang="es-ES"/>
        </a:p>
      </dgm:t>
    </dgm:pt>
    <dgm:pt modelId="{74A8C96C-BB76-401C-8BCE-3D3F9B413AE2}" type="pres">
      <dgm:prSet presAssocID="{8D7FF43C-C7D9-4738-BFFD-2670DF3A63D8}" presName="connTx" presStyleLbl="parChTrans1D3" presStyleIdx="1" presStyleCnt="3"/>
      <dgm:spPr/>
      <dgm:t>
        <a:bodyPr/>
        <a:lstStyle/>
        <a:p>
          <a:endParaRPr lang="es-ES"/>
        </a:p>
      </dgm:t>
    </dgm:pt>
    <dgm:pt modelId="{02BD3660-0509-42A5-B35C-32FB4E4015F4}" type="pres">
      <dgm:prSet presAssocID="{7D472F8F-ABBF-4A46-8DFC-D0D37A612036}" presName="root2" presStyleCnt="0"/>
      <dgm:spPr/>
    </dgm:pt>
    <dgm:pt modelId="{099C319B-02FB-4812-B12B-B5659B8B62DE}" type="pres">
      <dgm:prSet presAssocID="{7D472F8F-ABBF-4A46-8DFC-D0D37A612036}" presName="LevelTwoTextNode" presStyleLbl="node3" presStyleIdx="1" presStyleCnt="3" custScaleY="126985" custLinFactNeighborX="1362" custLinFactNeighborY="-11613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A5E2FFF4-5A1F-4699-9C59-AD767914586B}" type="pres">
      <dgm:prSet presAssocID="{7D472F8F-ABBF-4A46-8DFC-D0D37A612036}" presName="level3hierChild" presStyleCnt="0"/>
      <dgm:spPr/>
    </dgm:pt>
    <dgm:pt modelId="{8ACA16D1-755E-42DA-8388-782AB354E09F}" type="pres">
      <dgm:prSet presAssocID="{43A1C40E-B5EC-40FC-86D9-01CCDD6295C1}" presName="conn2-1" presStyleLbl="parChTrans1D2" presStyleIdx="1" presStyleCnt="2"/>
      <dgm:spPr/>
      <dgm:t>
        <a:bodyPr/>
        <a:lstStyle/>
        <a:p>
          <a:endParaRPr lang="es-ES"/>
        </a:p>
      </dgm:t>
    </dgm:pt>
    <dgm:pt modelId="{EB5DFE1A-B053-41E1-A708-1DBC012ECBD8}" type="pres">
      <dgm:prSet presAssocID="{43A1C40E-B5EC-40FC-86D9-01CCDD6295C1}" presName="connTx" presStyleLbl="parChTrans1D2" presStyleIdx="1" presStyleCnt="2"/>
      <dgm:spPr/>
      <dgm:t>
        <a:bodyPr/>
        <a:lstStyle/>
        <a:p>
          <a:endParaRPr lang="es-ES"/>
        </a:p>
      </dgm:t>
    </dgm:pt>
    <dgm:pt modelId="{4601C074-49C1-4D8F-B00D-5D98D4187956}" type="pres">
      <dgm:prSet presAssocID="{3F906735-0919-465C-BC58-BDEDBEB71E7C}" presName="root2" presStyleCnt="0"/>
      <dgm:spPr/>
    </dgm:pt>
    <dgm:pt modelId="{42FB9971-94F9-4A6A-9162-6617ACE897AF}" type="pres">
      <dgm:prSet presAssocID="{3F906735-0919-465C-BC58-BDEDBEB71E7C}" presName="LevelTwoTextNode" presStyleLbl="node2" presStyleIdx="1" presStyleCnt="2" custScaleX="98390" custScaleY="149680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73612331-6E1C-4F6F-AD66-799A0E9DD0F2}" type="pres">
      <dgm:prSet presAssocID="{3F906735-0919-465C-BC58-BDEDBEB71E7C}" presName="level3hierChild" presStyleCnt="0"/>
      <dgm:spPr/>
    </dgm:pt>
    <dgm:pt modelId="{F09E8F66-68FE-4344-B5B0-C4F90D06F828}" type="pres">
      <dgm:prSet presAssocID="{F713F997-6404-4A18-8AD1-A773F7DBE0EB}" presName="conn2-1" presStyleLbl="parChTrans1D3" presStyleIdx="2" presStyleCnt="3"/>
      <dgm:spPr/>
      <dgm:t>
        <a:bodyPr/>
        <a:lstStyle/>
        <a:p>
          <a:endParaRPr lang="es-ES"/>
        </a:p>
      </dgm:t>
    </dgm:pt>
    <dgm:pt modelId="{61F5A592-BE34-45DA-952B-30B537695461}" type="pres">
      <dgm:prSet presAssocID="{F713F997-6404-4A18-8AD1-A773F7DBE0EB}" presName="connTx" presStyleLbl="parChTrans1D3" presStyleIdx="2" presStyleCnt="3"/>
      <dgm:spPr/>
      <dgm:t>
        <a:bodyPr/>
        <a:lstStyle/>
        <a:p>
          <a:endParaRPr lang="es-ES"/>
        </a:p>
      </dgm:t>
    </dgm:pt>
    <dgm:pt modelId="{EA8791D3-3224-4C97-9CEF-DF66007B6EB3}" type="pres">
      <dgm:prSet presAssocID="{FC9E7A6E-49AF-4D38-9F4D-F19392A28038}" presName="root2" presStyleCnt="0"/>
      <dgm:spPr/>
    </dgm:pt>
    <dgm:pt modelId="{9F1170B6-80EE-4991-88C3-81AF03391AD9}" type="pres">
      <dgm:prSet presAssocID="{FC9E7A6E-49AF-4D38-9F4D-F19392A28038}" presName="LevelTwoTextNode" presStyleLbl="node3" presStyleIdx="2" presStyleCnt="3" custScaleX="100000" custScaleY="201046" custLinFactNeighborX="2972" custLinFactNeighborY="-333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7590D1EC-3C46-451C-9BD4-48805346884F}" type="pres">
      <dgm:prSet presAssocID="{FC9E7A6E-49AF-4D38-9F4D-F19392A28038}" presName="level3hierChild" presStyleCnt="0"/>
      <dgm:spPr/>
    </dgm:pt>
  </dgm:ptLst>
  <dgm:cxnLst>
    <dgm:cxn modelId="{570BA2EF-C55E-4FAB-AC37-981F95FC5B94}" type="presOf" srcId="{7D472F8F-ABBF-4A46-8DFC-D0D37A612036}" destId="{099C319B-02FB-4812-B12B-B5659B8B62DE}" srcOrd="0" destOrd="0" presId="urn:microsoft.com/office/officeart/2005/8/layout/hierarchy2#1"/>
    <dgm:cxn modelId="{97F2C3EE-D375-419A-AD31-431CB42979DE}" type="presOf" srcId="{F713F997-6404-4A18-8AD1-A773F7DBE0EB}" destId="{F09E8F66-68FE-4344-B5B0-C4F90D06F828}" srcOrd="0" destOrd="0" presId="urn:microsoft.com/office/officeart/2005/8/layout/hierarchy2#1"/>
    <dgm:cxn modelId="{6959488E-D1CC-4DE1-8273-D6B6839B3844}" srcId="{C97448D9-261C-46B6-AD5F-386B2C4EF05D}" destId="{C242A50A-2373-44F0-A923-9038360CD8D8}" srcOrd="0" destOrd="0" parTransId="{EF59C355-F507-43C8-8057-9A160716C515}" sibTransId="{185168CE-604D-43BB-942A-31B78753DEE1}"/>
    <dgm:cxn modelId="{66336C5B-27BA-4411-A72C-162D40CD1864}" type="presOf" srcId="{FC9E7A6E-49AF-4D38-9F4D-F19392A28038}" destId="{9F1170B6-80EE-4991-88C3-81AF03391AD9}" srcOrd="0" destOrd="0" presId="urn:microsoft.com/office/officeart/2005/8/layout/hierarchy2#1"/>
    <dgm:cxn modelId="{6925C263-B497-4236-80DF-C0BB9AC508FF}" type="presOf" srcId="{8D7FF43C-C7D9-4738-BFFD-2670DF3A63D8}" destId="{74A8C96C-BB76-401C-8BCE-3D3F9B413AE2}" srcOrd="1" destOrd="0" presId="urn:microsoft.com/office/officeart/2005/8/layout/hierarchy2#1"/>
    <dgm:cxn modelId="{F34FD402-7604-48CF-94BF-9CE69382B2CE}" srcId="{FC2AF9D2-2774-42F0-A9C0-289CDDD99667}" destId="{49B35928-201C-4B5B-B7D5-7B3919B31E28}" srcOrd="0" destOrd="0" parTransId="{E2619787-8F6F-4508-BC8C-DAC01B87D991}" sibTransId="{54AA8EF1-1B41-48AB-B820-F12A67E504D6}"/>
    <dgm:cxn modelId="{BF4A179F-88B4-42BB-A149-0972E9FD0E8B}" type="presOf" srcId="{3F906735-0919-465C-BC58-BDEDBEB71E7C}" destId="{42FB9971-94F9-4A6A-9162-6617ACE897AF}" srcOrd="0" destOrd="0" presId="urn:microsoft.com/office/officeart/2005/8/layout/hierarchy2#1"/>
    <dgm:cxn modelId="{EE2D3F84-359F-4E81-A38D-CE8D16AE5981}" type="presOf" srcId="{C242A50A-2373-44F0-A923-9038360CD8D8}" destId="{2098EFB4-54A8-42EC-96FF-8111A6FAEA60}" srcOrd="0" destOrd="0" presId="urn:microsoft.com/office/officeart/2005/8/layout/hierarchy2#1"/>
    <dgm:cxn modelId="{64B65525-45D5-4B35-8389-C41818EFD8C0}" srcId="{C97448D9-261C-46B6-AD5F-386B2C4EF05D}" destId="{7D472F8F-ABBF-4A46-8DFC-D0D37A612036}" srcOrd="1" destOrd="0" parTransId="{8D7FF43C-C7D9-4738-BFFD-2670DF3A63D8}" sibTransId="{BBC0826A-CA70-46B1-B5E0-BAF36121AD16}"/>
    <dgm:cxn modelId="{83D325D8-5624-4090-9003-AEF3824DA527}" type="presOf" srcId="{43A1C40E-B5EC-40FC-86D9-01CCDD6295C1}" destId="{EB5DFE1A-B053-41E1-A708-1DBC012ECBD8}" srcOrd="1" destOrd="0" presId="urn:microsoft.com/office/officeart/2005/8/layout/hierarchy2#1"/>
    <dgm:cxn modelId="{19C06EE8-A20E-45FB-AA20-3750FC653C3E}" type="presOf" srcId="{EF59C355-F507-43C8-8057-9A160716C515}" destId="{B9EFBA7D-86B8-4750-9C5C-7B45130A411B}" srcOrd="0" destOrd="0" presId="urn:microsoft.com/office/officeart/2005/8/layout/hierarchy2#1"/>
    <dgm:cxn modelId="{EB75082F-4D0E-483C-9D2B-3EC31EF32942}" type="presOf" srcId="{43A1C40E-B5EC-40FC-86D9-01CCDD6295C1}" destId="{8ACA16D1-755E-42DA-8388-782AB354E09F}" srcOrd="0" destOrd="0" presId="urn:microsoft.com/office/officeart/2005/8/layout/hierarchy2#1"/>
    <dgm:cxn modelId="{69E06666-02C7-4A8E-A2AC-51AFFCA9F15F}" type="presOf" srcId="{8D7FF43C-C7D9-4738-BFFD-2670DF3A63D8}" destId="{87467DCD-03BE-4C43-8D43-F2D28E59D6E3}" srcOrd="0" destOrd="0" presId="urn:microsoft.com/office/officeart/2005/8/layout/hierarchy2#1"/>
    <dgm:cxn modelId="{E9A52803-20A7-4C34-AFDC-DFFE98744934}" type="presOf" srcId="{CC2B9F46-22B9-425F-8429-80520AB98F87}" destId="{66D2B663-A258-4BE9-9F4B-7F1B1158DAD2}" srcOrd="1" destOrd="0" presId="urn:microsoft.com/office/officeart/2005/8/layout/hierarchy2#1"/>
    <dgm:cxn modelId="{16389AD5-17F4-435A-8BF4-D0E52074F006}" srcId="{49B35928-201C-4B5B-B7D5-7B3919B31E28}" destId="{C97448D9-261C-46B6-AD5F-386B2C4EF05D}" srcOrd="0" destOrd="0" parTransId="{CC2B9F46-22B9-425F-8429-80520AB98F87}" sibTransId="{1C7C386F-8687-4525-8F03-62ED2CD8219C}"/>
    <dgm:cxn modelId="{2CC27D39-21D7-4904-B225-65DD5E42E6DD}" srcId="{3F906735-0919-465C-BC58-BDEDBEB71E7C}" destId="{FC9E7A6E-49AF-4D38-9F4D-F19392A28038}" srcOrd="0" destOrd="0" parTransId="{F713F997-6404-4A18-8AD1-A773F7DBE0EB}" sibTransId="{E8752780-5B71-4E82-AE4C-AAAC8DA47452}"/>
    <dgm:cxn modelId="{97D5935A-1ECA-4036-BE39-5D0F7BCEA52C}" type="presOf" srcId="{F713F997-6404-4A18-8AD1-A773F7DBE0EB}" destId="{61F5A592-BE34-45DA-952B-30B537695461}" srcOrd="1" destOrd="0" presId="urn:microsoft.com/office/officeart/2005/8/layout/hierarchy2#1"/>
    <dgm:cxn modelId="{31DEAE43-39F3-4042-979E-0D1D284F6B35}" type="presOf" srcId="{CC2B9F46-22B9-425F-8429-80520AB98F87}" destId="{1F2D27CB-6AD4-4AA3-81B3-34564ADAB99F}" srcOrd="0" destOrd="0" presId="urn:microsoft.com/office/officeart/2005/8/layout/hierarchy2#1"/>
    <dgm:cxn modelId="{7CB540D7-6797-42AB-8007-C24261C5E7FF}" type="presOf" srcId="{EF59C355-F507-43C8-8057-9A160716C515}" destId="{2A902929-00F1-42F4-A52B-E6BEED7C8390}" srcOrd="1" destOrd="0" presId="urn:microsoft.com/office/officeart/2005/8/layout/hierarchy2#1"/>
    <dgm:cxn modelId="{69AFE9F6-88C9-4ABC-A42D-9D98103AD63A}" type="presOf" srcId="{FC2AF9D2-2774-42F0-A9C0-289CDDD99667}" destId="{AFE80B68-3A94-40D9-B3C1-DA355CDED1B5}" srcOrd="0" destOrd="0" presId="urn:microsoft.com/office/officeart/2005/8/layout/hierarchy2#1"/>
    <dgm:cxn modelId="{3193F0E1-B368-48B6-8053-13852FA57DD6}" type="presOf" srcId="{C97448D9-261C-46B6-AD5F-386B2C4EF05D}" destId="{30C0E45E-5303-4749-9D15-1730D5322BD4}" srcOrd="0" destOrd="0" presId="urn:microsoft.com/office/officeart/2005/8/layout/hierarchy2#1"/>
    <dgm:cxn modelId="{BF3EB832-8268-4858-9D20-C4FD340F75A5}" srcId="{49B35928-201C-4B5B-B7D5-7B3919B31E28}" destId="{3F906735-0919-465C-BC58-BDEDBEB71E7C}" srcOrd="1" destOrd="0" parTransId="{43A1C40E-B5EC-40FC-86D9-01CCDD6295C1}" sibTransId="{45A6629C-338C-443E-BF0F-C23DAC88ADBB}"/>
    <dgm:cxn modelId="{8F776305-2B57-4DD2-BB01-725C1ADF4991}" type="presOf" srcId="{49B35928-201C-4B5B-B7D5-7B3919B31E28}" destId="{F16777D5-F22F-453F-A571-E7E86AF88DC7}" srcOrd="0" destOrd="0" presId="urn:microsoft.com/office/officeart/2005/8/layout/hierarchy2#1"/>
    <dgm:cxn modelId="{84676BE6-7E63-45DA-AC9F-FA60BFF922C8}" type="presParOf" srcId="{AFE80B68-3A94-40D9-B3C1-DA355CDED1B5}" destId="{A0FE18C4-19D1-445C-9204-5F2D3A89A7F7}" srcOrd="0" destOrd="0" presId="urn:microsoft.com/office/officeart/2005/8/layout/hierarchy2#1"/>
    <dgm:cxn modelId="{4D9239A6-1903-4DE8-A7D0-B3A07A4A7AC6}" type="presParOf" srcId="{A0FE18C4-19D1-445C-9204-5F2D3A89A7F7}" destId="{F16777D5-F22F-453F-A571-E7E86AF88DC7}" srcOrd="0" destOrd="0" presId="urn:microsoft.com/office/officeart/2005/8/layout/hierarchy2#1"/>
    <dgm:cxn modelId="{50EC7967-463D-4426-B427-D7BD42EAB614}" type="presParOf" srcId="{A0FE18C4-19D1-445C-9204-5F2D3A89A7F7}" destId="{6E23FC50-4C0F-4E6E-830E-38D5D20AD065}" srcOrd="1" destOrd="0" presId="urn:microsoft.com/office/officeart/2005/8/layout/hierarchy2#1"/>
    <dgm:cxn modelId="{E1CCE605-4A66-453C-B4CB-7F56971DAED2}" type="presParOf" srcId="{6E23FC50-4C0F-4E6E-830E-38D5D20AD065}" destId="{1F2D27CB-6AD4-4AA3-81B3-34564ADAB99F}" srcOrd="0" destOrd="0" presId="urn:microsoft.com/office/officeart/2005/8/layout/hierarchy2#1"/>
    <dgm:cxn modelId="{65BAB092-0009-4CC6-87B9-EBF0902720E9}" type="presParOf" srcId="{1F2D27CB-6AD4-4AA3-81B3-34564ADAB99F}" destId="{66D2B663-A258-4BE9-9F4B-7F1B1158DAD2}" srcOrd="0" destOrd="0" presId="urn:microsoft.com/office/officeart/2005/8/layout/hierarchy2#1"/>
    <dgm:cxn modelId="{743A751A-DEA7-420F-BD99-A06D319D76B3}" type="presParOf" srcId="{6E23FC50-4C0F-4E6E-830E-38D5D20AD065}" destId="{C0E1E84A-CD2C-4CEF-912A-2A82A15EEC85}" srcOrd="1" destOrd="0" presId="urn:microsoft.com/office/officeart/2005/8/layout/hierarchy2#1"/>
    <dgm:cxn modelId="{0F12E24D-EBE8-41AF-B1CF-DAB2A56D77EE}" type="presParOf" srcId="{C0E1E84A-CD2C-4CEF-912A-2A82A15EEC85}" destId="{30C0E45E-5303-4749-9D15-1730D5322BD4}" srcOrd="0" destOrd="0" presId="urn:microsoft.com/office/officeart/2005/8/layout/hierarchy2#1"/>
    <dgm:cxn modelId="{4120BE97-8BBC-41B8-98A1-7C41E191C1EE}" type="presParOf" srcId="{C0E1E84A-CD2C-4CEF-912A-2A82A15EEC85}" destId="{9EEFF9D8-B952-4629-8617-8AA7F6FC081D}" srcOrd="1" destOrd="0" presId="urn:microsoft.com/office/officeart/2005/8/layout/hierarchy2#1"/>
    <dgm:cxn modelId="{4E055178-2F16-474C-9B0B-6019F57DB93B}" type="presParOf" srcId="{9EEFF9D8-B952-4629-8617-8AA7F6FC081D}" destId="{B9EFBA7D-86B8-4750-9C5C-7B45130A411B}" srcOrd="0" destOrd="0" presId="urn:microsoft.com/office/officeart/2005/8/layout/hierarchy2#1"/>
    <dgm:cxn modelId="{E5152305-96F4-4530-8F4D-16CA9B2740B1}" type="presParOf" srcId="{B9EFBA7D-86B8-4750-9C5C-7B45130A411B}" destId="{2A902929-00F1-42F4-A52B-E6BEED7C8390}" srcOrd="0" destOrd="0" presId="urn:microsoft.com/office/officeart/2005/8/layout/hierarchy2#1"/>
    <dgm:cxn modelId="{9C4D10EE-BB82-44C9-89D1-A7654D767C7E}" type="presParOf" srcId="{9EEFF9D8-B952-4629-8617-8AA7F6FC081D}" destId="{4161E039-4228-4BD2-9291-5ED71DD1DECE}" srcOrd="1" destOrd="0" presId="urn:microsoft.com/office/officeart/2005/8/layout/hierarchy2#1"/>
    <dgm:cxn modelId="{95D111E7-30EC-4D7D-BF4D-8E98626EE3BC}" type="presParOf" srcId="{4161E039-4228-4BD2-9291-5ED71DD1DECE}" destId="{2098EFB4-54A8-42EC-96FF-8111A6FAEA60}" srcOrd="0" destOrd="0" presId="urn:microsoft.com/office/officeart/2005/8/layout/hierarchy2#1"/>
    <dgm:cxn modelId="{23186C3A-8AB7-4005-AE0D-552B2225965E}" type="presParOf" srcId="{4161E039-4228-4BD2-9291-5ED71DD1DECE}" destId="{9C5E01D5-7135-40CB-8344-F37277C82B51}" srcOrd="1" destOrd="0" presId="urn:microsoft.com/office/officeart/2005/8/layout/hierarchy2#1"/>
    <dgm:cxn modelId="{66446685-81E4-4037-B7FE-DA5DC3A6516E}" type="presParOf" srcId="{9EEFF9D8-B952-4629-8617-8AA7F6FC081D}" destId="{87467DCD-03BE-4C43-8D43-F2D28E59D6E3}" srcOrd="2" destOrd="0" presId="urn:microsoft.com/office/officeart/2005/8/layout/hierarchy2#1"/>
    <dgm:cxn modelId="{80CB4ADD-F3FD-46BC-B435-5BCAA4924B8B}" type="presParOf" srcId="{87467DCD-03BE-4C43-8D43-F2D28E59D6E3}" destId="{74A8C96C-BB76-401C-8BCE-3D3F9B413AE2}" srcOrd="0" destOrd="0" presId="urn:microsoft.com/office/officeart/2005/8/layout/hierarchy2#1"/>
    <dgm:cxn modelId="{59278DBE-CA91-4C42-83DC-AE0EA7742B06}" type="presParOf" srcId="{9EEFF9D8-B952-4629-8617-8AA7F6FC081D}" destId="{02BD3660-0509-42A5-B35C-32FB4E4015F4}" srcOrd="3" destOrd="0" presId="urn:microsoft.com/office/officeart/2005/8/layout/hierarchy2#1"/>
    <dgm:cxn modelId="{44A551F6-74CC-4408-ABD6-8B8BBA818230}" type="presParOf" srcId="{02BD3660-0509-42A5-B35C-32FB4E4015F4}" destId="{099C319B-02FB-4812-B12B-B5659B8B62DE}" srcOrd="0" destOrd="0" presId="urn:microsoft.com/office/officeart/2005/8/layout/hierarchy2#1"/>
    <dgm:cxn modelId="{8DE814B4-21A5-4339-93CA-A5A6D888BCD1}" type="presParOf" srcId="{02BD3660-0509-42A5-B35C-32FB4E4015F4}" destId="{A5E2FFF4-5A1F-4699-9C59-AD767914586B}" srcOrd="1" destOrd="0" presId="urn:microsoft.com/office/officeart/2005/8/layout/hierarchy2#1"/>
    <dgm:cxn modelId="{261ADA7F-9A78-4F0E-8DBE-660E90969FF0}" type="presParOf" srcId="{6E23FC50-4C0F-4E6E-830E-38D5D20AD065}" destId="{8ACA16D1-755E-42DA-8388-782AB354E09F}" srcOrd="2" destOrd="0" presId="urn:microsoft.com/office/officeart/2005/8/layout/hierarchy2#1"/>
    <dgm:cxn modelId="{E6C674AF-984D-4EB5-8D0C-A2BAF7307BB6}" type="presParOf" srcId="{8ACA16D1-755E-42DA-8388-782AB354E09F}" destId="{EB5DFE1A-B053-41E1-A708-1DBC012ECBD8}" srcOrd="0" destOrd="0" presId="urn:microsoft.com/office/officeart/2005/8/layout/hierarchy2#1"/>
    <dgm:cxn modelId="{F37E5847-191F-4AED-B9C8-A704ED0E83DE}" type="presParOf" srcId="{6E23FC50-4C0F-4E6E-830E-38D5D20AD065}" destId="{4601C074-49C1-4D8F-B00D-5D98D4187956}" srcOrd="3" destOrd="0" presId="urn:microsoft.com/office/officeart/2005/8/layout/hierarchy2#1"/>
    <dgm:cxn modelId="{5ABD745B-385F-4B8F-8926-7972062A7F66}" type="presParOf" srcId="{4601C074-49C1-4D8F-B00D-5D98D4187956}" destId="{42FB9971-94F9-4A6A-9162-6617ACE897AF}" srcOrd="0" destOrd="0" presId="urn:microsoft.com/office/officeart/2005/8/layout/hierarchy2#1"/>
    <dgm:cxn modelId="{0F221E53-8221-42BE-84D7-680D6FA37ED4}" type="presParOf" srcId="{4601C074-49C1-4D8F-B00D-5D98D4187956}" destId="{73612331-6E1C-4F6F-AD66-799A0E9DD0F2}" srcOrd="1" destOrd="0" presId="urn:microsoft.com/office/officeart/2005/8/layout/hierarchy2#1"/>
    <dgm:cxn modelId="{4A5831B6-75D0-499B-86D4-E6B61E42850A}" type="presParOf" srcId="{73612331-6E1C-4F6F-AD66-799A0E9DD0F2}" destId="{F09E8F66-68FE-4344-B5B0-C4F90D06F828}" srcOrd="0" destOrd="0" presId="urn:microsoft.com/office/officeart/2005/8/layout/hierarchy2#1"/>
    <dgm:cxn modelId="{E10A0373-8699-4B93-A339-EA11106F21C9}" type="presParOf" srcId="{F09E8F66-68FE-4344-B5B0-C4F90D06F828}" destId="{61F5A592-BE34-45DA-952B-30B537695461}" srcOrd="0" destOrd="0" presId="urn:microsoft.com/office/officeart/2005/8/layout/hierarchy2#1"/>
    <dgm:cxn modelId="{0B1309F1-2ECE-4C75-B7B5-9FEBBD7E87F2}" type="presParOf" srcId="{73612331-6E1C-4F6F-AD66-799A0E9DD0F2}" destId="{EA8791D3-3224-4C97-9CEF-DF66007B6EB3}" srcOrd="1" destOrd="0" presId="urn:microsoft.com/office/officeart/2005/8/layout/hierarchy2#1"/>
    <dgm:cxn modelId="{739989E6-6C68-4932-8D4F-0D4BD7299FBA}" type="presParOf" srcId="{EA8791D3-3224-4C97-9CEF-DF66007B6EB3}" destId="{9F1170B6-80EE-4991-88C3-81AF03391AD9}" srcOrd="0" destOrd="0" presId="urn:microsoft.com/office/officeart/2005/8/layout/hierarchy2#1"/>
    <dgm:cxn modelId="{9C9C5B04-7803-487B-845E-708B2ED2677D}" type="presParOf" srcId="{EA8791D3-3224-4C97-9CEF-DF66007B6EB3}" destId="{7590D1EC-3C46-451C-9BD4-48805346884F}" srcOrd="1" destOrd="0" presId="urn:microsoft.com/office/officeart/2005/8/layout/hierarchy2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406F6D27-A543-4049-AD14-1E7FC96EE177}" type="doc">
      <dgm:prSet loTypeId="urn:microsoft.com/office/officeart/2005/8/layout/hList3" loCatId="list" qsTypeId="urn:microsoft.com/office/officeart/2005/8/quickstyle/simple1#5" qsCatId="simple" csTypeId="urn:microsoft.com/office/officeart/2005/8/colors/accent1_2#4" csCatId="accent1" phldr="1"/>
      <dgm:spPr/>
      <dgm:t>
        <a:bodyPr/>
        <a:lstStyle/>
        <a:p>
          <a:endParaRPr lang="es-ES"/>
        </a:p>
      </dgm:t>
    </dgm:pt>
    <dgm:pt modelId="{AA915320-E234-499D-B6FE-48CB2853D374}">
      <dgm:prSet phldrT="[Texto]" custT="1"/>
      <dgm:spPr>
        <a:solidFill>
          <a:srgbClr val="E39913"/>
        </a:solidFill>
      </dgm:spPr>
      <dgm:t>
        <a:bodyPr/>
        <a:lstStyle/>
        <a:p>
          <a:pPr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es-ES" sz="2800" dirty="0" smtClean="0">
            <a:solidFill>
              <a:schemeClr val="tx1"/>
            </a:solidFill>
            <a:latin typeface="Optane"/>
          </a:endParaRPr>
        </a:p>
        <a:p>
          <a:pPr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es-ES" sz="2000" b="1" dirty="0" err="1" smtClean="0">
              <a:solidFill>
                <a:schemeClr val="tx1"/>
              </a:solidFill>
              <a:latin typeface="Optane"/>
            </a:rPr>
            <a:t>Residence</a:t>
          </a:r>
          <a:r>
            <a:rPr lang="es-ES" sz="2000" b="1" dirty="0" smtClean="0">
              <a:solidFill>
                <a:schemeClr val="tx1"/>
              </a:solidFill>
              <a:latin typeface="Optane"/>
            </a:rPr>
            <a:t> in </a:t>
          </a:r>
          <a:r>
            <a:rPr lang="es-ES" sz="2000" b="1" dirty="0" err="1" smtClean="0">
              <a:solidFill>
                <a:schemeClr val="tx1"/>
              </a:solidFill>
              <a:latin typeface="Optane"/>
            </a:rPr>
            <a:t>another</a:t>
          </a:r>
          <a:r>
            <a:rPr lang="es-ES" sz="2000" b="1" dirty="0" smtClean="0">
              <a:solidFill>
                <a:schemeClr val="tx1"/>
              </a:solidFill>
              <a:latin typeface="Optane"/>
            </a:rPr>
            <a:t> </a:t>
          </a:r>
          <a:r>
            <a:rPr lang="es-ES" sz="2000" b="1" dirty="0" err="1" smtClean="0">
              <a:solidFill>
                <a:schemeClr val="tx1"/>
              </a:solidFill>
              <a:latin typeface="Optane"/>
            </a:rPr>
            <a:t>Member</a:t>
          </a:r>
          <a:r>
            <a:rPr lang="es-ES" sz="2000" b="1" dirty="0" smtClean="0">
              <a:solidFill>
                <a:schemeClr val="tx1"/>
              </a:solidFill>
              <a:latin typeface="Optane"/>
            </a:rPr>
            <a:t> </a:t>
          </a:r>
          <a:r>
            <a:rPr lang="es-ES" sz="2000" b="1" dirty="0" err="1" smtClean="0">
              <a:solidFill>
                <a:schemeClr val="tx1"/>
              </a:solidFill>
              <a:latin typeface="Optane"/>
            </a:rPr>
            <a:t>state</a:t>
          </a:r>
          <a:endParaRPr lang="es-ES" sz="2000" b="1" dirty="0" smtClean="0">
            <a:solidFill>
              <a:schemeClr val="tx1"/>
            </a:solidFill>
            <a:latin typeface="Optane"/>
          </a:endParaRPr>
        </a:p>
        <a:p>
          <a:pPr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zh-CN" altLang="en-US" sz="2000" dirty="0" smtClean="0">
              <a:solidFill>
                <a:schemeClr val="tx1"/>
              </a:solidFill>
              <a:latin typeface="Optane"/>
            </a:rPr>
            <a:t>居住于另一成员国者</a:t>
          </a:r>
          <a:endParaRPr lang="es-ES" sz="2000" dirty="0" smtClean="0">
            <a:solidFill>
              <a:schemeClr val="tx1"/>
            </a:solidFill>
            <a:latin typeface="Optane"/>
          </a:endParaRPr>
        </a:p>
        <a:p>
          <a:pPr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es-ES" sz="2800" dirty="0">
            <a:solidFill>
              <a:schemeClr val="tx1"/>
            </a:solidFill>
            <a:latin typeface="Optane"/>
          </a:endParaRPr>
        </a:p>
      </dgm:t>
    </dgm:pt>
    <dgm:pt modelId="{42BB0185-898C-4E9B-99C5-7DE298580639}" type="parTrans" cxnId="{9B37EB63-31F5-41E0-AFA3-1FF9D6EC7EA8}">
      <dgm:prSet/>
      <dgm:spPr/>
      <dgm:t>
        <a:bodyPr/>
        <a:lstStyle/>
        <a:p>
          <a:pPr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es-ES"/>
        </a:p>
      </dgm:t>
    </dgm:pt>
    <dgm:pt modelId="{44430F20-E818-446A-A16D-B08523107C96}" type="sibTrans" cxnId="{9B37EB63-31F5-41E0-AFA3-1FF9D6EC7EA8}">
      <dgm:prSet/>
      <dgm:spPr/>
      <dgm:t>
        <a:bodyPr/>
        <a:lstStyle/>
        <a:p>
          <a:pPr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es-ES"/>
        </a:p>
      </dgm:t>
    </dgm:pt>
    <dgm:pt modelId="{4ECCA131-3AEE-4F9F-9B98-872E512F18A8}">
      <dgm:prSet phldrT="[Texto]" custT="1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pPr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es-ES" sz="2400" dirty="0" smtClean="0">
            <a:latin typeface="Optane"/>
          </a:endParaRPr>
        </a:p>
        <a:p>
          <a:pPr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es-ES" sz="2400" dirty="0" smtClean="0">
            <a:latin typeface="Optane"/>
          </a:endParaRPr>
        </a:p>
        <a:p>
          <a:pPr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es-ES" sz="2400" dirty="0" smtClean="0">
            <a:latin typeface="Optane"/>
          </a:endParaRPr>
        </a:p>
        <a:p>
          <a:pPr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es-ES" sz="2400" dirty="0">
            <a:latin typeface="Optane"/>
          </a:endParaRPr>
        </a:p>
      </dgm:t>
    </dgm:pt>
    <dgm:pt modelId="{36A3EDFF-BBEF-4373-8AA4-EEBDBFFFCC42}" type="parTrans" cxnId="{68A9C69C-1FC0-47DA-8227-517A38F6299B}">
      <dgm:prSet/>
      <dgm:spPr/>
      <dgm:t>
        <a:bodyPr/>
        <a:lstStyle/>
        <a:p>
          <a:pPr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es-ES"/>
        </a:p>
      </dgm:t>
    </dgm:pt>
    <dgm:pt modelId="{5888B22C-C3A6-44D1-8DDA-7DC4885883E6}" type="sibTrans" cxnId="{68A9C69C-1FC0-47DA-8227-517A38F6299B}">
      <dgm:prSet/>
      <dgm:spPr/>
      <dgm:t>
        <a:bodyPr/>
        <a:lstStyle/>
        <a:p>
          <a:pPr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es-ES"/>
        </a:p>
      </dgm:t>
    </dgm:pt>
    <dgm:pt modelId="{BB6ACCCE-FAA7-4C79-98A8-93CD20955390}">
      <dgm:prSet phldrT="[Texto]" custT="1"/>
      <dgm:spPr>
        <a:blipFill rotWithShape="0">
          <a:blip xmlns:r="http://schemas.openxmlformats.org/officeDocument/2006/relationships" r:embed="rId2"/>
          <a:stretch>
            <a:fillRect/>
          </a:stretch>
        </a:blipFill>
        <a:ln>
          <a:solidFill>
            <a:schemeClr val="tx2">
              <a:lumMod val="40000"/>
              <a:lumOff val="60000"/>
            </a:schemeClr>
          </a:solidFill>
        </a:ln>
      </dgm:spPr>
      <dgm:t>
        <a:bodyPr/>
        <a:lstStyle/>
        <a:p>
          <a:pPr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es-ES" sz="2400" dirty="0" smtClean="0">
            <a:latin typeface="Optane"/>
          </a:endParaRPr>
        </a:p>
        <a:p>
          <a:pPr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es-ES" sz="2400" dirty="0" smtClean="0">
            <a:latin typeface="Optane"/>
          </a:endParaRPr>
        </a:p>
        <a:p>
          <a:pPr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es-ES" sz="2400" dirty="0" smtClean="0">
            <a:latin typeface="Optane"/>
          </a:endParaRPr>
        </a:p>
        <a:p>
          <a:pPr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es-ES" sz="2400" dirty="0" smtClean="0">
            <a:latin typeface="Optane"/>
          </a:endParaRPr>
        </a:p>
        <a:p>
          <a:pPr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es-ES" sz="2400" dirty="0">
            <a:latin typeface="Optane"/>
          </a:endParaRPr>
        </a:p>
      </dgm:t>
    </dgm:pt>
    <dgm:pt modelId="{E3CD3E5B-676F-45B5-B078-AB6F619181A9}" type="parTrans" cxnId="{82017505-D671-4EF7-96CA-00561F551303}">
      <dgm:prSet/>
      <dgm:spPr/>
      <dgm:t>
        <a:bodyPr/>
        <a:lstStyle/>
        <a:p>
          <a:pPr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es-ES"/>
        </a:p>
      </dgm:t>
    </dgm:pt>
    <dgm:pt modelId="{FB920A21-0661-47F2-9762-372A7D734A0B}" type="sibTrans" cxnId="{82017505-D671-4EF7-96CA-00561F551303}">
      <dgm:prSet/>
      <dgm:spPr/>
      <dgm:t>
        <a:bodyPr/>
        <a:lstStyle/>
        <a:p>
          <a:pPr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es-ES"/>
        </a:p>
      </dgm:t>
    </dgm:pt>
    <dgm:pt modelId="{29983740-CF58-4D32-8F34-38A534CB6445}" type="pres">
      <dgm:prSet presAssocID="{406F6D27-A543-4049-AD14-1E7FC96EE177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C8E7B40E-E8B2-478B-935E-DC6781E39075}" type="pres">
      <dgm:prSet presAssocID="{AA915320-E234-499D-B6FE-48CB2853D374}" presName="roof" presStyleLbl="dkBgShp" presStyleIdx="0" presStyleCnt="2" custScaleX="100000" custScaleY="85632" custLinFactNeighborX="278" custLinFactNeighborY="-3592"/>
      <dgm:spPr/>
      <dgm:t>
        <a:bodyPr/>
        <a:lstStyle/>
        <a:p>
          <a:endParaRPr lang="es-ES"/>
        </a:p>
      </dgm:t>
    </dgm:pt>
    <dgm:pt modelId="{EB3E5D41-3699-4598-9C04-D2D9D1DDB489}" type="pres">
      <dgm:prSet presAssocID="{AA915320-E234-499D-B6FE-48CB2853D374}" presName="pillars" presStyleCnt="0"/>
      <dgm:spPr/>
    </dgm:pt>
    <dgm:pt modelId="{CDADF634-EC82-4A64-A0A1-DD818E339BD7}" type="pres">
      <dgm:prSet presAssocID="{AA915320-E234-499D-B6FE-48CB2853D374}" presName="pillar1" presStyleLbl="node1" presStyleIdx="0" presStyleCnt="2" custScaleX="29759" custScaleY="70374" custLinFactNeighborX="-2600" custLinFactNeighborY="-13520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2868BE3-99EF-4BBE-9BF8-81B1056E86E1}" type="pres">
      <dgm:prSet presAssocID="{BB6ACCCE-FAA7-4C79-98A8-93CD20955390}" presName="pillarX" presStyleLbl="node1" presStyleIdx="1" presStyleCnt="2" custScaleX="59555" custScaleY="83637" custLinFactNeighborX="2878" custLinFactNeighborY="-10858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9EEF7F5-5605-4625-9F28-C11957F531F1}" type="pres">
      <dgm:prSet presAssocID="{AA915320-E234-499D-B6FE-48CB2853D374}" presName="base" presStyleLbl="dkBgShp" presStyleIdx="1" presStyleCnt="2"/>
      <dgm:spPr/>
    </dgm:pt>
  </dgm:ptLst>
  <dgm:cxnLst>
    <dgm:cxn modelId="{9B37EB63-31F5-41E0-AFA3-1FF9D6EC7EA8}" srcId="{406F6D27-A543-4049-AD14-1E7FC96EE177}" destId="{AA915320-E234-499D-B6FE-48CB2853D374}" srcOrd="0" destOrd="0" parTransId="{42BB0185-898C-4E9B-99C5-7DE298580639}" sibTransId="{44430F20-E818-446A-A16D-B08523107C96}"/>
    <dgm:cxn modelId="{82017505-D671-4EF7-96CA-00561F551303}" srcId="{AA915320-E234-499D-B6FE-48CB2853D374}" destId="{BB6ACCCE-FAA7-4C79-98A8-93CD20955390}" srcOrd="1" destOrd="0" parTransId="{E3CD3E5B-676F-45B5-B078-AB6F619181A9}" sibTransId="{FB920A21-0661-47F2-9762-372A7D734A0B}"/>
    <dgm:cxn modelId="{D59FA728-0082-4756-8AA0-5991904D1AC9}" type="presOf" srcId="{406F6D27-A543-4049-AD14-1E7FC96EE177}" destId="{29983740-CF58-4D32-8F34-38A534CB6445}" srcOrd="0" destOrd="0" presId="urn:microsoft.com/office/officeart/2005/8/layout/hList3"/>
    <dgm:cxn modelId="{705EE77A-18EF-4507-ABA4-98E45C2631F6}" type="presOf" srcId="{4ECCA131-3AEE-4F9F-9B98-872E512F18A8}" destId="{CDADF634-EC82-4A64-A0A1-DD818E339BD7}" srcOrd="0" destOrd="0" presId="urn:microsoft.com/office/officeart/2005/8/layout/hList3"/>
    <dgm:cxn modelId="{68A9C69C-1FC0-47DA-8227-517A38F6299B}" srcId="{AA915320-E234-499D-B6FE-48CB2853D374}" destId="{4ECCA131-3AEE-4F9F-9B98-872E512F18A8}" srcOrd="0" destOrd="0" parTransId="{36A3EDFF-BBEF-4373-8AA4-EEBDBFFFCC42}" sibTransId="{5888B22C-C3A6-44D1-8DDA-7DC4885883E6}"/>
    <dgm:cxn modelId="{9A5A6C0E-67EF-4617-88BB-76420B41D500}" type="presOf" srcId="{AA915320-E234-499D-B6FE-48CB2853D374}" destId="{C8E7B40E-E8B2-478B-935E-DC6781E39075}" srcOrd="0" destOrd="0" presId="urn:microsoft.com/office/officeart/2005/8/layout/hList3"/>
    <dgm:cxn modelId="{D447CC48-D258-4FE1-98E7-33B6FA356E4E}" type="presOf" srcId="{BB6ACCCE-FAA7-4C79-98A8-93CD20955390}" destId="{22868BE3-99EF-4BBE-9BF8-81B1056E86E1}" srcOrd="0" destOrd="0" presId="urn:microsoft.com/office/officeart/2005/8/layout/hList3"/>
    <dgm:cxn modelId="{303799BE-CE11-4DE6-B1E1-0B80F6679839}" type="presParOf" srcId="{29983740-CF58-4D32-8F34-38A534CB6445}" destId="{C8E7B40E-E8B2-478B-935E-DC6781E39075}" srcOrd="0" destOrd="0" presId="urn:microsoft.com/office/officeart/2005/8/layout/hList3"/>
    <dgm:cxn modelId="{65ABE9FD-9B26-4D61-AF86-14EA92AE0B8A}" type="presParOf" srcId="{29983740-CF58-4D32-8F34-38A534CB6445}" destId="{EB3E5D41-3699-4598-9C04-D2D9D1DDB489}" srcOrd="1" destOrd="0" presId="urn:microsoft.com/office/officeart/2005/8/layout/hList3"/>
    <dgm:cxn modelId="{DB8480EC-210A-4099-8C75-11F47E2F78D4}" type="presParOf" srcId="{EB3E5D41-3699-4598-9C04-D2D9D1DDB489}" destId="{CDADF634-EC82-4A64-A0A1-DD818E339BD7}" srcOrd="0" destOrd="0" presId="urn:microsoft.com/office/officeart/2005/8/layout/hList3"/>
    <dgm:cxn modelId="{D3384677-F1AC-4848-9298-2214BD4BCD98}" type="presParOf" srcId="{EB3E5D41-3699-4598-9C04-D2D9D1DDB489}" destId="{22868BE3-99EF-4BBE-9BF8-81B1056E86E1}" srcOrd="1" destOrd="0" presId="urn:microsoft.com/office/officeart/2005/8/layout/hList3"/>
    <dgm:cxn modelId="{688FB102-1B01-43FD-90BB-645AD99602FA}" type="presParOf" srcId="{29983740-CF58-4D32-8F34-38A534CB6445}" destId="{29EEF7F5-5605-4625-9F28-C11957F531F1}" srcOrd="2" destOrd="0" presId="urn:microsoft.com/office/officeart/2005/8/layout/hList3"/>
  </dgm:cxnLst>
  <dgm:bg>
    <a:solidFill>
      <a:srgbClr val="FFCC00"/>
    </a:solidFill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406F6D27-A543-4049-AD14-1E7FC96EE177}" type="doc">
      <dgm:prSet loTypeId="urn:microsoft.com/office/officeart/2005/8/layout/hList3" loCatId="list" qsTypeId="urn:microsoft.com/office/officeart/2005/8/quickstyle/simple1#6" qsCatId="simple" csTypeId="urn:microsoft.com/office/officeart/2005/8/colors/accent1_2#5" csCatId="accent1" phldr="1"/>
      <dgm:spPr/>
      <dgm:t>
        <a:bodyPr/>
        <a:lstStyle/>
        <a:p>
          <a:endParaRPr lang="es-ES"/>
        </a:p>
      </dgm:t>
    </dgm:pt>
    <dgm:pt modelId="{AA915320-E234-499D-B6FE-48CB2853D374}">
      <dgm:prSet phldrT="[Texto]" custT="1"/>
      <dgm:spPr>
        <a:solidFill>
          <a:schemeClr val="accent1"/>
        </a:solidFill>
      </dgm:spPr>
      <dgm:t>
        <a:bodyPr/>
        <a:lstStyle/>
        <a:p>
          <a:r>
            <a:rPr lang="es-ES" sz="2400" b="1" dirty="0" err="1" smtClean="0">
              <a:solidFill>
                <a:schemeClr val="tx1"/>
              </a:solidFill>
              <a:latin typeface="Optane"/>
            </a:rPr>
            <a:t>Stay</a:t>
          </a:r>
          <a:r>
            <a:rPr lang="es-ES" sz="2400" b="1" dirty="0" smtClean="0">
              <a:solidFill>
                <a:schemeClr val="tx1"/>
              </a:solidFill>
              <a:latin typeface="Optane"/>
            </a:rPr>
            <a:t> in </a:t>
          </a:r>
          <a:r>
            <a:rPr lang="es-ES" sz="2400" b="1" dirty="0" err="1" smtClean="0">
              <a:solidFill>
                <a:schemeClr val="tx1"/>
              </a:solidFill>
              <a:latin typeface="Optane"/>
            </a:rPr>
            <a:t>another</a:t>
          </a:r>
          <a:r>
            <a:rPr lang="es-ES" sz="2400" b="1" dirty="0" smtClean="0">
              <a:solidFill>
                <a:schemeClr val="tx1"/>
              </a:solidFill>
              <a:latin typeface="Optane"/>
            </a:rPr>
            <a:t> </a:t>
          </a:r>
          <a:r>
            <a:rPr lang="es-ES" sz="2400" b="1" dirty="0" err="1" smtClean="0">
              <a:solidFill>
                <a:schemeClr val="tx1"/>
              </a:solidFill>
              <a:latin typeface="Optane"/>
            </a:rPr>
            <a:t>Member</a:t>
          </a:r>
          <a:r>
            <a:rPr lang="es-ES" sz="2400" b="1" dirty="0" smtClean="0">
              <a:solidFill>
                <a:schemeClr val="tx1"/>
              </a:solidFill>
              <a:latin typeface="Optane"/>
            </a:rPr>
            <a:t> </a:t>
          </a:r>
          <a:r>
            <a:rPr lang="es-ES" sz="2400" b="1" dirty="0" err="1" smtClean="0">
              <a:solidFill>
                <a:schemeClr val="tx1"/>
              </a:solidFill>
              <a:latin typeface="Optane"/>
            </a:rPr>
            <a:t>state</a:t>
          </a:r>
          <a:endParaRPr lang="es-ES" sz="2400" b="1" dirty="0" smtClean="0">
            <a:solidFill>
              <a:schemeClr val="tx1"/>
            </a:solidFill>
            <a:latin typeface="Optane"/>
          </a:endParaRPr>
        </a:p>
        <a:p>
          <a:r>
            <a:rPr lang="zh-CN" altLang="en-US" sz="2400" b="1" dirty="0" smtClean="0">
              <a:solidFill>
                <a:schemeClr val="tx1"/>
              </a:solidFill>
              <a:latin typeface="Optane"/>
            </a:rPr>
            <a:t>驻留于另一成员国者</a:t>
          </a:r>
          <a:endParaRPr lang="es-ES" sz="2400" b="1" dirty="0">
            <a:solidFill>
              <a:schemeClr val="tx1"/>
            </a:solidFill>
            <a:latin typeface="Optane"/>
          </a:endParaRPr>
        </a:p>
      </dgm:t>
    </dgm:pt>
    <dgm:pt modelId="{42BB0185-898C-4E9B-99C5-7DE298580639}" type="parTrans" cxnId="{9B37EB63-31F5-41E0-AFA3-1FF9D6EC7EA8}">
      <dgm:prSet/>
      <dgm:spPr/>
      <dgm:t>
        <a:bodyPr/>
        <a:lstStyle/>
        <a:p>
          <a:endParaRPr lang="es-ES"/>
        </a:p>
      </dgm:t>
    </dgm:pt>
    <dgm:pt modelId="{44430F20-E818-446A-A16D-B08523107C96}" type="sibTrans" cxnId="{9B37EB63-31F5-41E0-AFA3-1FF9D6EC7EA8}">
      <dgm:prSet/>
      <dgm:spPr/>
      <dgm:t>
        <a:bodyPr/>
        <a:lstStyle/>
        <a:p>
          <a:endParaRPr lang="es-ES"/>
        </a:p>
      </dgm:t>
    </dgm:pt>
    <dgm:pt modelId="{4ECCA131-3AEE-4F9F-9B98-872E512F18A8}">
      <dgm:prSet phldrT="[Texto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pPr algn="ctr">
            <a:lnSpc>
              <a:spcPct val="100000"/>
            </a:lnSpc>
            <a:spcAft>
              <a:spcPts val="0"/>
            </a:spcAft>
          </a:pPr>
          <a:r>
            <a:rPr lang="es-ES" sz="2800" dirty="0" smtClean="0">
              <a:solidFill>
                <a:schemeClr val="tx1"/>
              </a:solidFill>
              <a:latin typeface="Optane"/>
            </a:rPr>
            <a:t>Necesary care</a:t>
          </a:r>
        </a:p>
        <a:p>
          <a:pPr algn="ctr">
            <a:lnSpc>
              <a:spcPct val="100000"/>
            </a:lnSpc>
            <a:spcAft>
              <a:spcPts val="0"/>
            </a:spcAft>
          </a:pPr>
          <a:r>
            <a:rPr lang="zh-CN" altLang="en-US" sz="2800" dirty="0" smtClean="0">
              <a:solidFill>
                <a:schemeClr val="tx1"/>
              </a:solidFill>
              <a:latin typeface="Optane"/>
            </a:rPr>
            <a:t>必要照顾</a:t>
          </a:r>
          <a:endParaRPr lang="es-ES" sz="2800" dirty="0" smtClean="0">
            <a:solidFill>
              <a:schemeClr val="tx1"/>
            </a:solidFill>
            <a:latin typeface="Optane"/>
          </a:endParaRPr>
        </a:p>
        <a:p>
          <a:pPr algn="ctr">
            <a:lnSpc>
              <a:spcPct val="100000"/>
            </a:lnSpc>
            <a:spcAft>
              <a:spcPts val="0"/>
            </a:spcAft>
          </a:pPr>
          <a:endParaRPr lang="es-ES" sz="2800" dirty="0" smtClean="0">
            <a:solidFill>
              <a:schemeClr val="tx1"/>
            </a:solidFill>
            <a:latin typeface="Optane"/>
          </a:endParaRPr>
        </a:p>
        <a:p>
          <a:pPr algn="ctr">
            <a:lnSpc>
              <a:spcPct val="100000"/>
            </a:lnSpc>
            <a:spcAft>
              <a:spcPts val="0"/>
            </a:spcAft>
          </a:pPr>
          <a:endParaRPr lang="es-ES" sz="2800" dirty="0" smtClean="0">
            <a:solidFill>
              <a:schemeClr val="tx1"/>
            </a:solidFill>
            <a:latin typeface="Optane"/>
          </a:endParaRPr>
        </a:p>
        <a:p>
          <a:pPr algn="ctr">
            <a:lnSpc>
              <a:spcPct val="100000"/>
            </a:lnSpc>
            <a:spcAft>
              <a:spcPts val="0"/>
            </a:spcAft>
          </a:pPr>
          <a:endParaRPr lang="es-ES" sz="2800" dirty="0" smtClean="0">
            <a:solidFill>
              <a:schemeClr val="tx1"/>
            </a:solidFill>
            <a:latin typeface="Optane"/>
          </a:endParaRPr>
        </a:p>
        <a:p>
          <a:pPr algn="ctr">
            <a:lnSpc>
              <a:spcPct val="100000"/>
            </a:lnSpc>
            <a:spcAft>
              <a:spcPts val="0"/>
            </a:spcAft>
          </a:pPr>
          <a:endParaRPr lang="es-ES" sz="2800" dirty="0">
            <a:solidFill>
              <a:schemeClr val="tx1"/>
            </a:solidFill>
            <a:latin typeface="Optane"/>
          </a:endParaRPr>
        </a:p>
      </dgm:t>
    </dgm:pt>
    <dgm:pt modelId="{36A3EDFF-BBEF-4373-8AA4-EEBDBFFFCC42}" type="parTrans" cxnId="{68A9C69C-1FC0-47DA-8227-517A38F6299B}">
      <dgm:prSet/>
      <dgm:spPr/>
      <dgm:t>
        <a:bodyPr/>
        <a:lstStyle/>
        <a:p>
          <a:endParaRPr lang="es-ES"/>
        </a:p>
      </dgm:t>
    </dgm:pt>
    <dgm:pt modelId="{5888B22C-C3A6-44D1-8DDA-7DC4885883E6}" type="sibTrans" cxnId="{68A9C69C-1FC0-47DA-8227-517A38F6299B}">
      <dgm:prSet/>
      <dgm:spPr/>
      <dgm:t>
        <a:bodyPr/>
        <a:lstStyle/>
        <a:p>
          <a:endParaRPr lang="es-ES"/>
        </a:p>
      </dgm:t>
    </dgm:pt>
    <dgm:pt modelId="{BB6ACCCE-FAA7-4C79-98A8-93CD20955390}">
      <dgm:prSet phldrT="[Texto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es-ES" sz="2400" dirty="0" smtClean="0">
              <a:solidFill>
                <a:schemeClr val="tx1"/>
              </a:solidFill>
              <a:latin typeface="Optane"/>
            </a:rPr>
            <a:t>Scheduled treatment</a:t>
          </a:r>
        </a:p>
        <a:p>
          <a:r>
            <a:rPr lang="zh-CN" altLang="en-US" sz="2400" dirty="0" smtClean="0">
              <a:solidFill>
                <a:schemeClr val="tx1"/>
              </a:solidFill>
              <a:latin typeface="Optane"/>
            </a:rPr>
            <a:t>已预订的治疗</a:t>
          </a:r>
          <a:endParaRPr lang="es-ES" sz="2400" dirty="0" smtClean="0">
            <a:solidFill>
              <a:schemeClr val="tx1"/>
            </a:solidFill>
            <a:latin typeface="Optane"/>
          </a:endParaRPr>
        </a:p>
        <a:p>
          <a:endParaRPr lang="es-ES" sz="2400" dirty="0" smtClean="0">
            <a:solidFill>
              <a:schemeClr val="tx1"/>
            </a:solidFill>
            <a:latin typeface="Optane"/>
          </a:endParaRPr>
        </a:p>
        <a:p>
          <a:endParaRPr lang="es-ES" sz="2400" dirty="0" smtClean="0">
            <a:solidFill>
              <a:schemeClr val="tx1"/>
            </a:solidFill>
            <a:latin typeface="Optane"/>
          </a:endParaRPr>
        </a:p>
        <a:p>
          <a:endParaRPr lang="es-ES" sz="2400" dirty="0">
            <a:solidFill>
              <a:schemeClr val="tx1"/>
            </a:solidFill>
            <a:latin typeface="Optane"/>
          </a:endParaRPr>
        </a:p>
      </dgm:t>
    </dgm:pt>
    <dgm:pt modelId="{E3CD3E5B-676F-45B5-B078-AB6F619181A9}" type="parTrans" cxnId="{82017505-D671-4EF7-96CA-00561F551303}">
      <dgm:prSet/>
      <dgm:spPr/>
      <dgm:t>
        <a:bodyPr/>
        <a:lstStyle/>
        <a:p>
          <a:endParaRPr lang="es-ES"/>
        </a:p>
      </dgm:t>
    </dgm:pt>
    <dgm:pt modelId="{FB920A21-0661-47F2-9762-372A7D734A0B}" type="sibTrans" cxnId="{82017505-D671-4EF7-96CA-00561F551303}">
      <dgm:prSet/>
      <dgm:spPr/>
      <dgm:t>
        <a:bodyPr/>
        <a:lstStyle/>
        <a:p>
          <a:endParaRPr lang="es-ES"/>
        </a:p>
      </dgm:t>
    </dgm:pt>
    <dgm:pt modelId="{29983740-CF58-4D32-8F34-38A534CB6445}" type="pres">
      <dgm:prSet presAssocID="{406F6D27-A543-4049-AD14-1E7FC96EE177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C8E7B40E-E8B2-478B-935E-DC6781E39075}" type="pres">
      <dgm:prSet presAssocID="{AA915320-E234-499D-B6FE-48CB2853D374}" presName="roof" presStyleLbl="dkBgShp" presStyleIdx="0" presStyleCnt="2" custAng="0" custLinFactNeighborX="492" custLinFactNeighborY="-3719"/>
      <dgm:spPr/>
      <dgm:t>
        <a:bodyPr/>
        <a:lstStyle/>
        <a:p>
          <a:endParaRPr lang="es-ES"/>
        </a:p>
      </dgm:t>
    </dgm:pt>
    <dgm:pt modelId="{EB3E5D41-3699-4598-9C04-D2D9D1DDB489}" type="pres">
      <dgm:prSet presAssocID="{AA915320-E234-499D-B6FE-48CB2853D374}" presName="pillars" presStyleCnt="0"/>
      <dgm:spPr/>
    </dgm:pt>
    <dgm:pt modelId="{CDADF634-EC82-4A64-A0A1-DD818E339BD7}" type="pres">
      <dgm:prSet presAssocID="{AA915320-E234-499D-B6FE-48CB2853D374}" presName="pillar1" presStyleLbl="node1" presStyleIdx="0" presStyleCnt="2" custScaleY="118610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2868BE3-99EF-4BBE-9BF8-81B1056E86E1}" type="pres">
      <dgm:prSet presAssocID="{BB6ACCCE-FAA7-4C79-98A8-93CD20955390}" presName="pillarX" presStyleLbl="node1" presStyleIdx="1" presStyleCnt="2" custScaleY="118610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9EEF7F5-5605-4625-9F28-C11957F531F1}" type="pres">
      <dgm:prSet presAssocID="{AA915320-E234-499D-B6FE-48CB2853D374}" presName="base" presStyleLbl="dkBgShp" presStyleIdx="1" presStyleCnt="2"/>
      <dgm:spPr/>
    </dgm:pt>
  </dgm:ptLst>
  <dgm:cxnLst>
    <dgm:cxn modelId="{9B37EB63-31F5-41E0-AFA3-1FF9D6EC7EA8}" srcId="{406F6D27-A543-4049-AD14-1E7FC96EE177}" destId="{AA915320-E234-499D-B6FE-48CB2853D374}" srcOrd="0" destOrd="0" parTransId="{42BB0185-898C-4E9B-99C5-7DE298580639}" sibTransId="{44430F20-E818-446A-A16D-B08523107C96}"/>
    <dgm:cxn modelId="{4BE90AB8-5E38-4ED1-BDDB-6D7F90D5EEE1}" type="presOf" srcId="{4ECCA131-3AEE-4F9F-9B98-872E512F18A8}" destId="{CDADF634-EC82-4A64-A0A1-DD818E339BD7}" srcOrd="0" destOrd="0" presId="urn:microsoft.com/office/officeart/2005/8/layout/hList3"/>
    <dgm:cxn modelId="{69B05313-5CE0-4BD5-B700-2085F6E8B7DE}" type="presOf" srcId="{406F6D27-A543-4049-AD14-1E7FC96EE177}" destId="{29983740-CF58-4D32-8F34-38A534CB6445}" srcOrd="0" destOrd="0" presId="urn:microsoft.com/office/officeart/2005/8/layout/hList3"/>
    <dgm:cxn modelId="{82017505-D671-4EF7-96CA-00561F551303}" srcId="{AA915320-E234-499D-B6FE-48CB2853D374}" destId="{BB6ACCCE-FAA7-4C79-98A8-93CD20955390}" srcOrd="1" destOrd="0" parTransId="{E3CD3E5B-676F-45B5-B078-AB6F619181A9}" sibTransId="{FB920A21-0661-47F2-9762-372A7D734A0B}"/>
    <dgm:cxn modelId="{5F9B5C08-E480-4D79-97E4-25899479804D}" type="presOf" srcId="{BB6ACCCE-FAA7-4C79-98A8-93CD20955390}" destId="{22868BE3-99EF-4BBE-9BF8-81B1056E86E1}" srcOrd="0" destOrd="0" presId="urn:microsoft.com/office/officeart/2005/8/layout/hList3"/>
    <dgm:cxn modelId="{68A9C69C-1FC0-47DA-8227-517A38F6299B}" srcId="{AA915320-E234-499D-B6FE-48CB2853D374}" destId="{4ECCA131-3AEE-4F9F-9B98-872E512F18A8}" srcOrd="0" destOrd="0" parTransId="{36A3EDFF-BBEF-4373-8AA4-EEBDBFFFCC42}" sibTransId="{5888B22C-C3A6-44D1-8DDA-7DC4885883E6}"/>
    <dgm:cxn modelId="{512EBC88-8DD6-4163-9106-04E4160BB710}" type="presOf" srcId="{AA915320-E234-499D-B6FE-48CB2853D374}" destId="{C8E7B40E-E8B2-478B-935E-DC6781E39075}" srcOrd="0" destOrd="0" presId="urn:microsoft.com/office/officeart/2005/8/layout/hList3"/>
    <dgm:cxn modelId="{68303FD0-12F6-476A-8E82-AE0FD85F8E42}" type="presParOf" srcId="{29983740-CF58-4D32-8F34-38A534CB6445}" destId="{C8E7B40E-E8B2-478B-935E-DC6781E39075}" srcOrd="0" destOrd="0" presId="urn:microsoft.com/office/officeart/2005/8/layout/hList3"/>
    <dgm:cxn modelId="{8F9E0A51-F8BF-4B8B-8F53-69DD779F5AE3}" type="presParOf" srcId="{29983740-CF58-4D32-8F34-38A534CB6445}" destId="{EB3E5D41-3699-4598-9C04-D2D9D1DDB489}" srcOrd="1" destOrd="0" presId="urn:microsoft.com/office/officeart/2005/8/layout/hList3"/>
    <dgm:cxn modelId="{CC637303-9F5B-4AFD-82DB-1D085876F1DF}" type="presParOf" srcId="{EB3E5D41-3699-4598-9C04-D2D9D1DDB489}" destId="{CDADF634-EC82-4A64-A0A1-DD818E339BD7}" srcOrd="0" destOrd="0" presId="urn:microsoft.com/office/officeart/2005/8/layout/hList3"/>
    <dgm:cxn modelId="{66D85F2F-295A-4BE9-AAB3-2F51C2DB26A2}" type="presParOf" srcId="{EB3E5D41-3699-4598-9C04-D2D9D1DDB489}" destId="{22868BE3-99EF-4BBE-9BF8-81B1056E86E1}" srcOrd="1" destOrd="0" presId="urn:microsoft.com/office/officeart/2005/8/layout/hList3"/>
    <dgm:cxn modelId="{EE1744C8-DCC6-4AE1-ADC9-E2128CA981B1}" type="presParOf" srcId="{29983740-CF58-4D32-8F34-38A534CB6445}" destId="{29EEF7F5-5605-4625-9F28-C11957F531F1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52C07B7D-AE70-4E5E-A967-0EC213E1BC6B}" type="doc">
      <dgm:prSet loTypeId="urn:microsoft.com/office/officeart/2005/8/layout/equation2#2" loCatId="process" qsTypeId="urn:microsoft.com/office/officeart/2005/8/quickstyle/simple1#7" qsCatId="simple" csTypeId="urn:microsoft.com/office/officeart/2005/8/colors/accent1_2#6" csCatId="accent1" phldr="0"/>
      <dgm:spPr/>
      <dgm:t>
        <a:bodyPr/>
        <a:lstStyle/>
        <a:p>
          <a:endParaRPr lang="es-ES"/>
        </a:p>
      </dgm:t>
    </dgm:pt>
    <dgm:pt modelId="{C6B3FB7D-661B-4090-A2C3-C0215BF17F8C}" type="pres">
      <dgm:prSet presAssocID="{52C07B7D-AE70-4E5E-A967-0EC213E1BC6B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</dgm:ptLst>
  <dgm:cxnLst>
    <dgm:cxn modelId="{D3460571-305B-4D48-95A7-078A5A8590BD}" type="presOf" srcId="{52C07B7D-AE70-4E5E-A967-0EC213E1BC6B}" destId="{C6B3FB7D-661B-4090-A2C3-C0215BF17F8C}" srcOrd="0" destOrd="0" presId="urn:microsoft.com/office/officeart/2005/8/layout/equation2#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F31778-395C-4460-B9B9-6C3C289260F4}">
      <dsp:nvSpPr>
        <dsp:cNvPr id="0" name=""/>
        <dsp:cNvSpPr/>
      </dsp:nvSpPr>
      <dsp:spPr>
        <a:xfrm>
          <a:off x="0" y="7242"/>
          <a:ext cx="8994775" cy="794503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b="1" kern="1200" dirty="0" smtClean="0">
              <a:solidFill>
                <a:srgbClr val="000000"/>
              </a:solidFill>
              <a:latin typeface="Optane"/>
            </a:rPr>
            <a:t>General Principles </a:t>
          </a:r>
          <a:r>
            <a:rPr lang="zh-CN" altLang="en-US" sz="2000" b="1" kern="1200" dirty="0" smtClean="0">
              <a:solidFill>
                <a:srgbClr val="000000"/>
              </a:solidFill>
              <a:latin typeface="Optane"/>
            </a:rPr>
            <a:t>总则</a:t>
          </a:r>
          <a:endParaRPr lang="es-ES" sz="2000" b="1" kern="1200" dirty="0">
            <a:solidFill>
              <a:srgbClr val="000000"/>
            </a:solidFill>
            <a:latin typeface="Optane"/>
          </a:endParaRPr>
        </a:p>
      </dsp:txBody>
      <dsp:txXfrm>
        <a:off x="38784" y="46026"/>
        <a:ext cx="8917207" cy="716935"/>
      </dsp:txXfrm>
    </dsp:sp>
    <dsp:sp modelId="{6B1E82F1-E723-4AFD-B831-9AD199687FE6}">
      <dsp:nvSpPr>
        <dsp:cNvPr id="0" name=""/>
        <dsp:cNvSpPr/>
      </dsp:nvSpPr>
      <dsp:spPr>
        <a:xfrm>
          <a:off x="0" y="866803"/>
          <a:ext cx="8994775" cy="794503"/>
        </a:xfrm>
        <a:prstGeom prst="roundRect">
          <a:avLst/>
        </a:prstGeom>
        <a:solidFill>
          <a:schemeClr val="accent5">
            <a:hueOff val="-1986775"/>
            <a:satOff val="7962"/>
            <a:lumOff val="1726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b="1" kern="1200" dirty="0" smtClean="0">
              <a:solidFill>
                <a:srgbClr val="000000"/>
              </a:solidFill>
              <a:latin typeface="Optane"/>
            </a:rPr>
            <a:t>Member States </a:t>
          </a:r>
          <a:r>
            <a:rPr lang="zh-CN" altLang="en-US" sz="2000" b="1" kern="1200" dirty="0" smtClean="0">
              <a:solidFill>
                <a:srgbClr val="000000"/>
              </a:solidFill>
              <a:latin typeface="Optane"/>
            </a:rPr>
            <a:t>成员国</a:t>
          </a:r>
          <a:endParaRPr lang="es-ES" sz="2000" b="1" kern="1200" dirty="0">
            <a:solidFill>
              <a:srgbClr val="000000"/>
            </a:solidFill>
            <a:latin typeface="Optane"/>
          </a:endParaRPr>
        </a:p>
      </dsp:txBody>
      <dsp:txXfrm>
        <a:off x="38784" y="905587"/>
        <a:ext cx="8917207" cy="716935"/>
      </dsp:txXfrm>
    </dsp:sp>
    <dsp:sp modelId="{6EEEE49C-6274-4FE2-BF86-5029C637B1C5}">
      <dsp:nvSpPr>
        <dsp:cNvPr id="0" name=""/>
        <dsp:cNvSpPr/>
      </dsp:nvSpPr>
      <dsp:spPr>
        <a:xfrm>
          <a:off x="0" y="1749240"/>
          <a:ext cx="8994775" cy="794503"/>
        </a:xfrm>
        <a:prstGeom prst="roundRect">
          <a:avLst/>
        </a:prstGeom>
        <a:solidFill>
          <a:schemeClr val="accent5">
            <a:hueOff val="-3973551"/>
            <a:satOff val="15924"/>
            <a:lumOff val="3451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b="1" kern="1200" dirty="0" smtClean="0">
              <a:solidFill>
                <a:srgbClr val="000000"/>
              </a:solidFill>
              <a:latin typeface="Optane"/>
            </a:rPr>
            <a:t>Personal </a:t>
          </a:r>
          <a:r>
            <a:rPr lang="es-ES" sz="2000" b="1" kern="1200" dirty="0" err="1" smtClean="0">
              <a:solidFill>
                <a:srgbClr val="000000"/>
              </a:solidFill>
              <a:latin typeface="Optane"/>
            </a:rPr>
            <a:t>Scope</a:t>
          </a:r>
          <a:r>
            <a:rPr lang="es-ES" sz="2000" b="1" kern="1200" dirty="0" smtClean="0">
              <a:solidFill>
                <a:srgbClr val="000000"/>
              </a:solidFill>
              <a:latin typeface="Optane"/>
            </a:rPr>
            <a:t> </a:t>
          </a:r>
          <a:r>
            <a:rPr lang="zh-CN" altLang="en-US" sz="2000" b="1" kern="1200" dirty="0" smtClean="0">
              <a:solidFill>
                <a:srgbClr val="000000"/>
              </a:solidFill>
              <a:latin typeface="Optane"/>
            </a:rPr>
            <a:t>适用个体范围</a:t>
          </a:r>
          <a:endParaRPr lang="es-ES" sz="2000" b="1" kern="1200" dirty="0">
            <a:solidFill>
              <a:srgbClr val="000000"/>
            </a:solidFill>
            <a:latin typeface="Optane"/>
          </a:endParaRPr>
        </a:p>
      </dsp:txBody>
      <dsp:txXfrm>
        <a:off x="38784" y="1788024"/>
        <a:ext cx="8917207" cy="716935"/>
      </dsp:txXfrm>
    </dsp:sp>
    <dsp:sp modelId="{C88C906A-D673-4354-A485-F224A1C138B2}">
      <dsp:nvSpPr>
        <dsp:cNvPr id="0" name=""/>
        <dsp:cNvSpPr/>
      </dsp:nvSpPr>
      <dsp:spPr>
        <a:xfrm>
          <a:off x="0" y="2601344"/>
          <a:ext cx="8994775" cy="794503"/>
        </a:xfrm>
        <a:prstGeom prst="roundRect">
          <a:avLst/>
        </a:prstGeom>
        <a:solidFill>
          <a:schemeClr val="accent5">
            <a:hueOff val="-5960326"/>
            <a:satOff val="23887"/>
            <a:lumOff val="5177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b="1" kern="1200" dirty="0" smtClean="0">
              <a:solidFill>
                <a:srgbClr val="000000"/>
              </a:solidFill>
              <a:latin typeface="Optane"/>
            </a:rPr>
            <a:t>Material </a:t>
          </a:r>
          <a:r>
            <a:rPr lang="es-ES" sz="2000" b="1" kern="1200" dirty="0" err="1" smtClean="0">
              <a:solidFill>
                <a:srgbClr val="000000"/>
              </a:solidFill>
              <a:latin typeface="Optane"/>
            </a:rPr>
            <a:t>Scope</a:t>
          </a:r>
          <a:r>
            <a:rPr lang="es-ES" sz="2000" b="1" kern="1200" dirty="0" smtClean="0">
              <a:solidFill>
                <a:srgbClr val="000000"/>
              </a:solidFill>
              <a:latin typeface="Optane"/>
            </a:rPr>
            <a:t> </a:t>
          </a:r>
          <a:r>
            <a:rPr lang="zh-CN" altLang="en-US" sz="2000" b="1" kern="1200" dirty="0" smtClean="0">
              <a:solidFill>
                <a:srgbClr val="000000"/>
              </a:solidFill>
              <a:latin typeface="Optane"/>
            </a:rPr>
            <a:t>适用物体范围</a:t>
          </a:r>
          <a:endParaRPr lang="es-ES" sz="2000" b="1" kern="1200" dirty="0">
            <a:solidFill>
              <a:srgbClr val="000000"/>
            </a:solidFill>
            <a:latin typeface="Optane"/>
          </a:endParaRPr>
        </a:p>
      </dsp:txBody>
      <dsp:txXfrm>
        <a:off x="38784" y="2640128"/>
        <a:ext cx="8917207" cy="716935"/>
      </dsp:txXfrm>
    </dsp:sp>
    <dsp:sp modelId="{FC41F6E2-C8A5-4E19-9D56-E810733BC4F9}">
      <dsp:nvSpPr>
        <dsp:cNvPr id="0" name=""/>
        <dsp:cNvSpPr/>
      </dsp:nvSpPr>
      <dsp:spPr>
        <a:xfrm>
          <a:off x="0" y="3480044"/>
          <a:ext cx="8994775" cy="794503"/>
        </a:xfrm>
        <a:prstGeom prst="roundRect">
          <a:avLst/>
        </a:prstGeom>
        <a:solidFill>
          <a:schemeClr val="accent5">
            <a:hueOff val="-7947101"/>
            <a:satOff val="31849"/>
            <a:lumOff val="6902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b="1" kern="1200" dirty="0" smtClean="0">
              <a:solidFill>
                <a:srgbClr val="000000"/>
              </a:solidFill>
              <a:latin typeface="Optane"/>
            </a:rPr>
            <a:t>Applicable </a:t>
          </a:r>
          <a:r>
            <a:rPr lang="es-ES" sz="2000" b="1" kern="1200" dirty="0" err="1" smtClean="0">
              <a:solidFill>
                <a:srgbClr val="000000"/>
              </a:solidFill>
              <a:latin typeface="Optane"/>
            </a:rPr>
            <a:t>legislation</a:t>
          </a:r>
          <a:r>
            <a:rPr lang="es-ES" sz="2000" b="1" kern="1200" dirty="0" smtClean="0">
              <a:solidFill>
                <a:srgbClr val="000000"/>
              </a:solidFill>
              <a:latin typeface="Optane"/>
            </a:rPr>
            <a:t> </a:t>
          </a:r>
          <a:r>
            <a:rPr lang="es-ES" sz="2000" b="1" kern="1200" dirty="0" err="1" smtClean="0">
              <a:solidFill>
                <a:srgbClr val="000000"/>
              </a:solidFill>
              <a:latin typeface="Optane"/>
            </a:rPr>
            <a:t>适用</a:t>
          </a:r>
          <a:r>
            <a:rPr lang="zh-CN" altLang="en-US" sz="2000" b="1" kern="1200" dirty="0" smtClean="0">
              <a:solidFill>
                <a:srgbClr val="000000"/>
              </a:solidFill>
              <a:latin typeface="Optane"/>
            </a:rPr>
            <a:t>法律</a:t>
          </a:r>
          <a:endParaRPr lang="es-ES" sz="2000" b="1" kern="1200" dirty="0">
            <a:solidFill>
              <a:srgbClr val="000000"/>
            </a:solidFill>
            <a:latin typeface="Optane"/>
          </a:endParaRPr>
        </a:p>
      </dsp:txBody>
      <dsp:txXfrm>
        <a:off x="38784" y="3518828"/>
        <a:ext cx="8917207" cy="716935"/>
      </dsp:txXfrm>
    </dsp:sp>
    <dsp:sp modelId="{50BFAC55-3680-4636-A056-33304A451222}">
      <dsp:nvSpPr>
        <dsp:cNvPr id="0" name=""/>
        <dsp:cNvSpPr/>
      </dsp:nvSpPr>
      <dsp:spPr>
        <a:xfrm>
          <a:off x="0" y="4305550"/>
          <a:ext cx="8994775" cy="794503"/>
        </a:xfrm>
        <a:prstGeom prst="roundRect">
          <a:avLst/>
        </a:prstGeom>
        <a:solidFill>
          <a:schemeClr val="accent5">
            <a:hueOff val="-9933876"/>
            <a:satOff val="39811"/>
            <a:lumOff val="8628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b="1" kern="1200" dirty="0" smtClean="0">
              <a:solidFill>
                <a:srgbClr val="000000"/>
              </a:solidFill>
              <a:latin typeface="Optane"/>
            </a:rPr>
            <a:t>Special provisions for the different categories of benefits </a:t>
          </a:r>
          <a:r>
            <a:rPr lang="zh-CN" altLang="en-US" sz="2000" b="1" kern="1200" dirty="0" smtClean="0">
              <a:solidFill>
                <a:srgbClr val="000000"/>
              </a:solidFill>
              <a:latin typeface="Optane"/>
            </a:rPr>
            <a:t>不同种类福利的特别条款</a:t>
          </a:r>
          <a:endParaRPr lang="es-ES" sz="2000" b="1" kern="1200" dirty="0">
            <a:solidFill>
              <a:srgbClr val="000000"/>
            </a:solidFill>
            <a:latin typeface="Optane"/>
          </a:endParaRPr>
        </a:p>
      </dsp:txBody>
      <dsp:txXfrm>
        <a:off x="38784" y="4344334"/>
        <a:ext cx="8917207" cy="716935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2B35F21-8932-40C2-BDE1-0B16B7F69DE5}">
      <dsp:nvSpPr>
        <dsp:cNvPr id="0" name=""/>
        <dsp:cNvSpPr/>
      </dsp:nvSpPr>
      <dsp:spPr>
        <a:xfrm>
          <a:off x="147995" y="144019"/>
          <a:ext cx="8846779" cy="742992"/>
        </a:xfrm>
        <a:prstGeom prst="roundRect">
          <a:avLst>
            <a:gd name="adj" fmla="val 10000"/>
          </a:avLst>
        </a:prstGeom>
        <a:solidFill>
          <a:srgbClr val="B1E987"/>
        </a:solidFill>
        <a:ln>
          <a:noFill/>
        </a:ln>
        <a:effectLst>
          <a:outerShdw blurRad="95000" rotWithShape="0">
            <a:srgbClr val="000000">
              <a:alpha val="50000"/>
            </a:srgbClr>
          </a:outerShdw>
          <a:softEdge rad="12700"/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b="1" kern="1200" dirty="0" smtClean="0">
              <a:solidFill>
                <a:schemeClr val="tx1"/>
              </a:solidFill>
              <a:latin typeface="Optane"/>
            </a:rPr>
            <a:t>ASIMILATION OF FACTS (art. 5) 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400" b="1" kern="1200" dirty="0" smtClean="0">
              <a:solidFill>
                <a:schemeClr val="tx1"/>
              </a:solidFill>
              <a:latin typeface="Optane"/>
            </a:rPr>
            <a:t>事实协同 （第</a:t>
          </a:r>
          <a:r>
            <a:rPr lang="en-US" altLang="zh-CN" sz="2400" b="1" kern="1200" dirty="0" smtClean="0">
              <a:solidFill>
                <a:schemeClr val="tx1"/>
              </a:solidFill>
              <a:latin typeface="Optane"/>
            </a:rPr>
            <a:t>5</a:t>
          </a:r>
          <a:r>
            <a:rPr lang="zh-CN" altLang="en-US" sz="2400" b="1" kern="1200" dirty="0" smtClean="0">
              <a:solidFill>
                <a:schemeClr val="tx1"/>
              </a:solidFill>
              <a:latin typeface="Optane"/>
            </a:rPr>
            <a:t>条）</a:t>
          </a:r>
          <a:endParaRPr lang="es-ES" sz="2400" b="1" kern="1200" dirty="0">
            <a:solidFill>
              <a:schemeClr val="tx1"/>
            </a:solidFill>
            <a:latin typeface="Optane"/>
          </a:endParaRPr>
        </a:p>
      </dsp:txBody>
      <dsp:txXfrm>
        <a:off x="169756" y="165780"/>
        <a:ext cx="8803257" cy="699470"/>
      </dsp:txXfrm>
    </dsp:sp>
    <dsp:sp modelId="{2D6DCAFA-1FBB-4AA0-8497-E3C36EE63CF1}">
      <dsp:nvSpPr>
        <dsp:cNvPr id="0" name=""/>
        <dsp:cNvSpPr/>
      </dsp:nvSpPr>
      <dsp:spPr>
        <a:xfrm>
          <a:off x="864594" y="1080151"/>
          <a:ext cx="2664414" cy="1399373"/>
        </a:xfrm>
        <a:prstGeom prst="roundRect">
          <a:avLst>
            <a:gd name="adj" fmla="val 10000"/>
          </a:avLst>
        </a:prstGeom>
        <a:solidFill>
          <a:srgbClr val="F11BE2"/>
        </a:solidFill>
        <a:ln>
          <a:noFill/>
        </a:ln>
        <a:effectLst>
          <a:outerShdw blurRad="95000" rotWithShape="0">
            <a:srgbClr val="000000">
              <a:alpha val="50000"/>
            </a:srgbClr>
          </a:outerShdw>
          <a:softEdge rad="12700"/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3600" b="1" kern="1200" dirty="0" smtClean="0">
              <a:solidFill>
                <a:schemeClr val="tx1"/>
              </a:solidFill>
              <a:latin typeface="Optane"/>
            </a:rPr>
            <a:t>SPAIN</a:t>
          </a:r>
        </a:p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3600" b="1" kern="1200" dirty="0" smtClean="0">
              <a:solidFill>
                <a:schemeClr val="tx1"/>
              </a:solidFill>
              <a:latin typeface="Optane"/>
            </a:rPr>
            <a:t>西班牙</a:t>
          </a:r>
          <a:endParaRPr lang="es-ES" sz="3600" b="1" kern="1200" dirty="0">
            <a:solidFill>
              <a:schemeClr val="tx1"/>
            </a:solidFill>
            <a:latin typeface="Optane"/>
          </a:endParaRPr>
        </a:p>
      </dsp:txBody>
      <dsp:txXfrm>
        <a:off x="905580" y="1121137"/>
        <a:ext cx="2582442" cy="1317401"/>
      </dsp:txXfrm>
    </dsp:sp>
    <dsp:sp modelId="{3DB53C08-D514-4356-AA91-07AB32C2C923}">
      <dsp:nvSpPr>
        <dsp:cNvPr id="0" name=""/>
        <dsp:cNvSpPr/>
      </dsp:nvSpPr>
      <dsp:spPr>
        <a:xfrm>
          <a:off x="1844029" y="2669427"/>
          <a:ext cx="2021762" cy="1142043"/>
        </a:xfrm>
        <a:prstGeom prst="roundRect">
          <a:avLst>
            <a:gd name="adj" fmla="val 10000"/>
          </a:avLst>
        </a:prstGeom>
        <a:solidFill>
          <a:srgbClr val="F892F1"/>
        </a:solidFill>
        <a:ln>
          <a:noFill/>
        </a:ln>
        <a:effectLst>
          <a:outerShdw blurRad="95000" rotWithShape="0">
            <a:srgbClr val="000000">
              <a:alpha val="50000"/>
            </a:srgbClr>
          </a:outerShdw>
          <a:softEdge rad="12700"/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b="0" kern="1200" dirty="0" smtClean="0">
              <a:solidFill>
                <a:schemeClr val="tx1"/>
              </a:solidFill>
              <a:latin typeface="Optane"/>
            </a:rPr>
            <a:t>BIRTH IN SPAIN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b="0" kern="1200" dirty="0" smtClean="0">
              <a:solidFill>
                <a:schemeClr val="tx1"/>
              </a:solidFill>
              <a:latin typeface="Optane"/>
            </a:rPr>
            <a:t>在西班牙出生</a:t>
          </a:r>
          <a:endParaRPr lang="es-ES" sz="2000" b="0" kern="1200" dirty="0">
            <a:solidFill>
              <a:schemeClr val="tx1"/>
            </a:solidFill>
            <a:latin typeface="Optane"/>
          </a:endParaRPr>
        </a:p>
      </dsp:txBody>
      <dsp:txXfrm>
        <a:off x="1877478" y="2702876"/>
        <a:ext cx="1954864" cy="1075145"/>
      </dsp:txXfrm>
    </dsp:sp>
    <dsp:sp modelId="{E1D2F679-7041-4CE3-997E-9C57C30759D4}">
      <dsp:nvSpPr>
        <dsp:cNvPr id="0" name=""/>
        <dsp:cNvSpPr/>
      </dsp:nvSpPr>
      <dsp:spPr>
        <a:xfrm>
          <a:off x="2739513" y="3995331"/>
          <a:ext cx="3667130" cy="1083051"/>
        </a:xfrm>
        <a:prstGeom prst="roundRect">
          <a:avLst>
            <a:gd name="adj" fmla="val 10000"/>
          </a:avLst>
        </a:prstGeom>
        <a:solidFill>
          <a:srgbClr val="1FF51F"/>
        </a:solidFill>
        <a:ln>
          <a:noFill/>
        </a:ln>
        <a:effectLst>
          <a:outerShdw blurRad="95000" rotWithShape="0">
            <a:srgbClr val="000000">
              <a:alpha val="50000"/>
            </a:srgbClr>
          </a:outerShdw>
          <a:softEdge rad="12700"/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b="1" kern="1200" dirty="0" smtClean="0">
              <a:solidFill>
                <a:schemeClr val="tx1"/>
              </a:solidFill>
              <a:latin typeface="Optane"/>
            </a:rPr>
            <a:t>MATERNITY   SUPPLEMENT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400" b="1" kern="1200" dirty="0" smtClean="0">
              <a:solidFill>
                <a:schemeClr val="tx1"/>
              </a:solidFill>
              <a:latin typeface="Optane"/>
            </a:rPr>
            <a:t>生育补充</a:t>
          </a:r>
          <a:endParaRPr lang="es-ES" sz="2400" b="1" kern="1200" dirty="0">
            <a:solidFill>
              <a:schemeClr val="tx1"/>
            </a:solidFill>
            <a:latin typeface="Optane"/>
          </a:endParaRPr>
        </a:p>
      </dsp:txBody>
      <dsp:txXfrm>
        <a:off x="2771234" y="4027052"/>
        <a:ext cx="3603688" cy="1019609"/>
      </dsp:txXfrm>
    </dsp:sp>
    <dsp:sp modelId="{61A2AD67-1507-4190-9BF8-C3D23ED66D11}">
      <dsp:nvSpPr>
        <dsp:cNvPr id="0" name=""/>
        <dsp:cNvSpPr/>
      </dsp:nvSpPr>
      <dsp:spPr>
        <a:xfrm>
          <a:off x="5329192" y="2619319"/>
          <a:ext cx="2203152" cy="1170271"/>
        </a:xfrm>
        <a:prstGeom prst="roundRect">
          <a:avLst>
            <a:gd name="adj" fmla="val 10000"/>
          </a:avLst>
        </a:prstGeom>
        <a:solidFill>
          <a:schemeClr val="accent1">
            <a:lumMod val="40000"/>
            <a:lumOff val="60000"/>
          </a:schemeClr>
        </a:solidFill>
        <a:ln>
          <a:noFill/>
        </a:ln>
        <a:effectLst>
          <a:outerShdw blurRad="95000" rotWithShape="0">
            <a:srgbClr val="000000">
              <a:alpha val="50000"/>
            </a:srgbClr>
          </a:outerShdw>
          <a:softEdge rad="12700"/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b="0" kern="1200" dirty="0" smtClean="0">
              <a:solidFill>
                <a:schemeClr val="tx1"/>
              </a:solidFill>
              <a:latin typeface="Optane"/>
            </a:rPr>
            <a:t>BIRTH IN GERMANY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b="0" kern="1200" dirty="0" smtClean="0">
              <a:solidFill>
                <a:schemeClr val="tx1"/>
              </a:solidFill>
              <a:latin typeface="Optane"/>
            </a:rPr>
            <a:t>在德国出生</a:t>
          </a:r>
          <a:endParaRPr lang="es-ES" sz="2000" b="0" kern="1200" dirty="0">
            <a:solidFill>
              <a:schemeClr val="tx1"/>
            </a:solidFill>
            <a:latin typeface="Optane"/>
          </a:endParaRPr>
        </a:p>
      </dsp:txBody>
      <dsp:txXfrm>
        <a:off x="5363468" y="2653595"/>
        <a:ext cx="2134600" cy="1101719"/>
      </dsp:txXfrm>
    </dsp:sp>
    <dsp:sp modelId="{6ADCF4F8-BEFE-47A1-BD3C-C4A536648DDA}">
      <dsp:nvSpPr>
        <dsp:cNvPr id="0" name=""/>
        <dsp:cNvSpPr/>
      </dsp:nvSpPr>
      <dsp:spPr>
        <a:xfrm>
          <a:off x="5401190" y="1080158"/>
          <a:ext cx="2817433" cy="1329186"/>
        </a:xfrm>
        <a:prstGeom prst="roundRect">
          <a:avLst>
            <a:gd name="adj" fmla="val 10000"/>
          </a:avLst>
        </a:prstGeom>
        <a:solidFill>
          <a:srgbClr val="00B0F0"/>
        </a:solidFill>
        <a:ln>
          <a:noFill/>
        </a:ln>
        <a:effectLst>
          <a:outerShdw blurRad="95000" rotWithShape="0">
            <a:srgbClr val="000000">
              <a:alpha val="50000"/>
            </a:srgbClr>
          </a:outerShdw>
          <a:softEdge rad="12700"/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3600" b="1" kern="1200" dirty="0" smtClean="0">
              <a:solidFill>
                <a:schemeClr val="tx1"/>
              </a:solidFill>
              <a:latin typeface="Optane"/>
            </a:rPr>
            <a:t>GERMANY</a:t>
          </a:r>
        </a:p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3600" b="1" kern="1200" dirty="0" smtClean="0">
              <a:solidFill>
                <a:schemeClr val="tx1"/>
              </a:solidFill>
              <a:latin typeface="Optane"/>
            </a:rPr>
            <a:t>德国</a:t>
          </a:r>
          <a:endParaRPr lang="es-ES" sz="3600" b="1" kern="1200" dirty="0">
            <a:solidFill>
              <a:schemeClr val="tx1"/>
            </a:solidFill>
            <a:latin typeface="Optane"/>
          </a:endParaRPr>
        </a:p>
      </dsp:txBody>
      <dsp:txXfrm>
        <a:off x="5440121" y="1119089"/>
        <a:ext cx="2739571" cy="125132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F4CB94-D123-4005-9D7C-476F59C59333}">
      <dsp:nvSpPr>
        <dsp:cNvPr id="0" name=""/>
        <dsp:cNvSpPr/>
      </dsp:nvSpPr>
      <dsp:spPr>
        <a:xfrm>
          <a:off x="576518" y="1007713"/>
          <a:ext cx="2863506" cy="1256948"/>
        </a:xfrm>
        <a:prstGeom prst="ellipse">
          <a:avLst/>
        </a:prstGeom>
        <a:solidFill>
          <a:srgbClr val="FB460D"/>
        </a:solidFill>
        <a:ln>
          <a:noFill/>
        </a:ln>
        <a:effectLst>
          <a:outerShdw blurRad="95000" rotWithShape="0">
            <a:srgbClr val="000000">
              <a:alpha val="50000"/>
            </a:srgbClr>
          </a:outerShdw>
          <a:softEdge rad="12700"/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0800" tIns="50800" rIns="50800" bIns="5080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4000" b="1" kern="1200" dirty="0" smtClean="0">
              <a:solidFill>
                <a:schemeClr val="tx1"/>
              </a:solidFill>
              <a:latin typeface="Optane"/>
            </a:rPr>
            <a:t>SPAIN</a:t>
          </a:r>
        </a:p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4000" b="1" kern="1200" dirty="0" smtClean="0">
              <a:solidFill>
                <a:schemeClr val="tx1"/>
              </a:solidFill>
              <a:latin typeface="Optane"/>
            </a:rPr>
            <a:t>西班牙</a:t>
          </a:r>
          <a:endParaRPr lang="es-ES" sz="4000" b="1" kern="1200" dirty="0">
            <a:solidFill>
              <a:schemeClr val="tx1"/>
            </a:solidFill>
            <a:latin typeface="Optane"/>
          </a:endParaRPr>
        </a:p>
      </dsp:txBody>
      <dsp:txXfrm>
        <a:off x="995869" y="1191789"/>
        <a:ext cx="2024804" cy="888796"/>
      </dsp:txXfrm>
    </dsp:sp>
    <dsp:sp modelId="{CBDE88F3-1F30-430A-A480-F9C8A49C391E}">
      <dsp:nvSpPr>
        <dsp:cNvPr id="0" name=""/>
        <dsp:cNvSpPr/>
      </dsp:nvSpPr>
      <dsp:spPr>
        <a:xfrm rot="21571441">
          <a:off x="3973659" y="2155533"/>
          <a:ext cx="1694732" cy="1487091"/>
        </a:xfrm>
        <a:prstGeom prst="rightArrow">
          <a:avLst>
            <a:gd name="adj1" fmla="val 60000"/>
            <a:gd name="adj2" fmla="val 50000"/>
          </a:avLst>
        </a:prstGeom>
        <a:solidFill>
          <a:srgbClr val="0070C0"/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444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5500" kern="1200"/>
        </a:p>
      </dsp:txBody>
      <dsp:txXfrm rot="10800000">
        <a:off x="3973667" y="2454804"/>
        <a:ext cx="1248605" cy="892255"/>
      </dsp:txXfrm>
    </dsp:sp>
    <dsp:sp modelId="{5DDF6738-51A3-4B8A-8BB0-C9CD37987B5F}">
      <dsp:nvSpPr>
        <dsp:cNvPr id="0" name=""/>
        <dsp:cNvSpPr/>
      </dsp:nvSpPr>
      <dsp:spPr>
        <a:xfrm>
          <a:off x="720563" y="3744086"/>
          <a:ext cx="2469822" cy="1285295"/>
        </a:xfrm>
        <a:prstGeom prst="ellipse">
          <a:avLst/>
        </a:prstGeom>
        <a:solidFill>
          <a:schemeClr val="accent3">
            <a:lumMod val="60000"/>
            <a:lumOff val="40000"/>
          </a:schemeClr>
        </a:solidFill>
        <a:ln>
          <a:noFill/>
        </a:ln>
        <a:effectLst>
          <a:outerShdw blurRad="95000" rotWithShape="0">
            <a:srgbClr val="000000">
              <a:alpha val="50000"/>
            </a:srgbClr>
          </a:outerShdw>
          <a:softEdge rad="12700"/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3600" b="1" kern="1200" dirty="0" smtClean="0">
              <a:solidFill>
                <a:schemeClr val="tx1"/>
              </a:solidFill>
              <a:latin typeface="Optane"/>
            </a:rPr>
            <a:t>ITALY</a:t>
          </a:r>
        </a:p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3600" b="1" kern="1200" dirty="0" smtClean="0">
              <a:solidFill>
                <a:schemeClr val="tx1"/>
              </a:solidFill>
              <a:latin typeface="Optane"/>
            </a:rPr>
            <a:t>意大利</a:t>
          </a:r>
          <a:endParaRPr lang="es-ES" sz="3600" b="1" kern="1200" dirty="0">
            <a:solidFill>
              <a:schemeClr val="tx1"/>
            </a:solidFill>
            <a:latin typeface="Optane"/>
          </a:endParaRPr>
        </a:p>
      </dsp:txBody>
      <dsp:txXfrm>
        <a:off x="1082260" y="3932313"/>
        <a:ext cx="1746428" cy="90884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9D132B-E80E-46A9-B71F-D248C5DA5B1E}">
      <dsp:nvSpPr>
        <dsp:cNvPr id="0" name=""/>
        <dsp:cNvSpPr/>
      </dsp:nvSpPr>
      <dsp:spPr>
        <a:xfrm>
          <a:off x="360032" y="72003"/>
          <a:ext cx="3796375" cy="2191417"/>
        </a:xfrm>
        <a:prstGeom prst="rect">
          <a:avLst/>
        </a:prstGeom>
        <a:solidFill>
          <a:schemeClr val="tx2">
            <a:lumMod val="40000"/>
            <a:lumOff val="60000"/>
          </a:schemeClr>
        </a:solidFill>
        <a:ln w="38100" cap="flat" cmpd="sng" algn="ctr">
          <a:solidFill>
            <a:schemeClr val="tx2">
              <a:lumMod val="40000"/>
              <a:lumOff val="6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b="1" kern="1200" dirty="0" smtClean="0">
              <a:solidFill>
                <a:srgbClr val="000000"/>
              </a:solidFill>
              <a:latin typeface="Optane"/>
            </a:rPr>
            <a:t>EU nationals / stateless persons – refugees + Family members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b="1" kern="1200" dirty="0" smtClean="0">
              <a:solidFill>
                <a:srgbClr val="000000"/>
              </a:solidFill>
              <a:latin typeface="Optane"/>
            </a:rPr>
            <a:t>欧盟国民资格获得者</a:t>
          </a:r>
          <a:r>
            <a:rPr lang="en-US" altLang="zh-CN" sz="2000" b="1" kern="1200" dirty="0" smtClean="0">
              <a:solidFill>
                <a:srgbClr val="000000"/>
              </a:solidFill>
              <a:latin typeface="Optane"/>
            </a:rPr>
            <a:t>/</a:t>
          </a:r>
          <a:r>
            <a:rPr lang="zh-CN" altLang="en-US" sz="2000" b="1" kern="1200" dirty="0" smtClean="0">
              <a:solidFill>
                <a:srgbClr val="000000"/>
              </a:solidFill>
              <a:latin typeface="Optane"/>
            </a:rPr>
            <a:t>无国籍人士 </a:t>
          </a:r>
          <a:r>
            <a:rPr lang="en-US" altLang="zh-CN" sz="2000" b="1" kern="1200" dirty="0" smtClean="0">
              <a:solidFill>
                <a:srgbClr val="000000"/>
              </a:solidFill>
              <a:latin typeface="Optane"/>
            </a:rPr>
            <a:t>- </a:t>
          </a:r>
          <a:r>
            <a:rPr lang="zh-CN" altLang="en-US" sz="2000" b="1" kern="1200" dirty="0" smtClean="0">
              <a:solidFill>
                <a:srgbClr val="000000"/>
              </a:solidFill>
              <a:latin typeface="Optane"/>
            </a:rPr>
            <a:t>难民</a:t>
          </a:r>
          <a:r>
            <a:rPr lang="en-US" altLang="zh-CN" sz="2000" b="1" kern="1200" dirty="0" smtClean="0">
              <a:solidFill>
                <a:srgbClr val="000000"/>
              </a:solidFill>
              <a:latin typeface="Optane"/>
            </a:rPr>
            <a:t>+</a:t>
          </a:r>
          <a:r>
            <a:rPr lang="zh-CN" altLang="en-US" sz="2000" b="1" kern="1200" dirty="0" smtClean="0">
              <a:solidFill>
                <a:srgbClr val="000000"/>
              </a:solidFill>
              <a:latin typeface="Optane"/>
            </a:rPr>
            <a:t>家庭成员</a:t>
          </a:r>
          <a:endParaRPr lang="es-ES" sz="2000" b="1" kern="1200" dirty="0" smtClean="0">
            <a:solidFill>
              <a:srgbClr val="000000"/>
            </a:solidFill>
            <a:latin typeface="Optane"/>
          </a:endParaRP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800" b="1" kern="1200" dirty="0">
            <a:solidFill>
              <a:srgbClr val="000000"/>
            </a:solidFill>
            <a:latin typeface="Optane"/>
          </a:endParaRPr>
        </a:p>
      </dsp:txBody>
      <dsp:txXfrm>
        <a:off x="360032" y="72003"/>
        <a:ext cx="3796375" cy="2191417"/>
      </dsp:txXfrm>
    </dsp:sp>
    <dsp:sp modelId="{5613326F-8DCF-4D38-8E8D-B57CA9719A42}">
      <dsp:nvSpPr>
        <dsp:cNvPr id="0" name=""/>
        <dsp:cNvSpPr/>
      </dsp:nvSpPr>
      <dsp:spPr>
        <a:xfrm>
          <a:off x="4752656" y="72003"/>
          <a:ext cx="3836660" cy="2191417"/>
        </a:xfrm>
        <a:prstGeom prst="rect">
          <a:avLst/>
        </a:prstGeom>
        <a:solidFill>
          <a:srgbClr val="92D050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b="1" kern="1200" dirty="0" smtClean="0">
              <a:solidFill>
                <a:schemeClr val="tx1"/>
              </a:solidFill>
              <a:latin typeface="Optane"/>
            </a:rPr>
            <a:t>Survivors , irrespective of their nationality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b="1" kern="1200" dirty="0" smtClean="0">
              <a:solidFill>
                <a:schemeClr val="tx1"/>
              </a:solidFill>
              <a:latin typeface="Optane"/>
            </a:rPr>
            <a:t>遗属，无论其国籍为何</a:t>
          </a:r>
          <a:endParaRPr lang="es-ES" sz="2000" b="1" kern="1200" dirty="0" smtClean="0">
            <a:solidFill>
              <a:schemeClr val="tx1"/>
            </a:solidFill>
            <a:latin typeface="Optane"/>
          </a:endParaRP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800" b="1" kern="1200" dirty="0">
            <a:solidFill>
              <a:schemeClr val="tx1"/>
            </a:solidFill>
            <a:latin typeface="Optane"/>
          </a:endParaRPr>
        </a:p>
      </dsp:txBody>
      <dsp:txXfrm>
        <a:off x="4752656" y="72003"/>
        <a:ext cx="3836660" cy="2191417"/>
      </dsp:txXfrm>
    </dsp:sp>
    <dsp:sp modelId="{68BD6254-5C47-4C40-B52F-EB9693AB7AB1}">
      <dsp:nvSpPr>
        <dsp:cNvPr id="0" name=""/>
        <dsp:cNvSpPr/>
      </dsp:nvSpPr>
      <dsp:spPr>
        <a:xfrm>
          <a:off x="2808375" y="2448347"/>
          <a:ext cx="3652362" cy="2191417"/>
        </a:xfrm>
        <a:prstGeom prst="rect">
          <a:avLst/>
        </a:prstGeom>
        <a:solidFill>
          <a:srgbClr val="F892F1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50000"/>
            </a:lnSpc>
            <a:spcBef>
              <a:spcPct val="0"/>
            </a:spcBef>
            <a:spcAft>
              <a:spcPct val="35000"/>
            </a:spcAft>
          </a:pPr>
          <a:r>
            <a:rPr lang="es-ES" sz="2000" b="1" kern="1200" dirty="0" smtClean="0">
              <a:solidFill>
                <a:schemeClr val="tx1"/>
              </a:solidFill>
              <a:latin typeface="Optane"/>
            </a:rPr>
            <a:t>Third countries nationals</a:t>
          </a:r>
        </a:p>
        <a:p>
          <a:pPr lvl="0" algn="ctr" defTabSz="889000">
            <a:lnSpc>
              <a:spcPct val="5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b="1" kern="1200" dirty="0" smtClean="0">
              <a:solidFill>
                <a:schemeClr val="tx1"/>
              </a:solidFill>
              <a:latin typeface="Optane"/>
            </a:rPr>
            <a:t>第三国家国民</a:t>
          </a:r>
          <a:endParaRPr lang="es-ES" sz="2000" b="1" kern="1200" dirty="0" smtClean="0">
            <a:solidFill>
              <a:schemeClr val="tx1"/>
            </a:solidFill>
            <a:latin typeface="Optane"/>
          </a:endParaRPr>
        </a:p>
        <a:p>
          <a:pPr lvl="0" algn="ctr" defTabSz="889000">
            <a:lnSpc>
              <a:spcPct val="50000"/>
            </a:lnSpc>
            <a:spcBef>
              <a:spcPct val="0"/>
            </a:spcBef>
            <a:spcAft>
              <a:spcPct val="35000"/>
            </a:spcAft>
          </a:pPr>
          <a:r>
            <a:rPr lang="es-ES" sz="2000" b="1" kern="1200" dirty="0" smtClean="0">
              <a:solidFill>
                <a:schemeClr val="tx1"/>
              </a:solidFill>
              <a:latin typeface="Optane"/>
            </a:rPr>
            <a:t>(Regulation (EU) 1231/2010)</a:t>
          </a:r>
        </a:p>
        <a:p>
          <a:pPr lvl="0" algn="ctr" defTabSz="889000">
            <a:lnSpc>
              <a:spcPct val="5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b="1" kern="1200" dirty="0" smtClean="0">
              <a:solidFill>
                <a:schemeClr val="tx1"/>
              </a:solidFill>
              <a:latin typeface="Optane"/>
            </a:rPr>
            <a:t>（（欧盟）规定</a:t>
          </a:r>
          <a:r>
            <a:rPr lang="es-ES" sz="2000" b="1" kern="1200" dirty="0" smtClean="0">
              <a:solidFill>
                <a:schemeClr val="tx1"/>
              </a:solidFill>
              <a:latin typeface="Optane"/>
            </a:rPr>
            <a:t>1231/2010</a:t>
          </a:r>
          <a:r>
            <a:rPr lang="zh-CN" altLang="en-US" sz="2000" b="1" kern="1200" dirty="0" smtClean="0">
              <a:solidFill>
                <a:schemeClr val="tx1"/>
              </a:solidFill>
              <a:latin typeface="Optane"/>
            </a:rPr>
            <a:t>）</a:t>
          </a:r>
          <a:endParaRPr lang="es-ES" sz="2000" b="1" kern="1200" dirty="0" smtClean="0">
            <a:solidFill>
              <a:schemeClr val="tx1"/>
            </a:solidFill>
            <a:latin typeface="Optane"/>
          </a:endParaRPr>
        </a:p>
        <a:p>
          <a:pPr lvl="0" algn="ctr" defTabSz="889000">
            <a:lnSpc>
              <a:spcPct val="50000"/>
            </a:lnSpc>
            <a:spcBef>
              <a:spcPct val="0"/>
            </a:spcBef>
            <a:spcAft>
              <a:spcPct val="35000"/>
            </a:spcAft>
          </a:pPr>
          <a:endParaRPr lang="es-ES" sz="2800" b="1" kern="1200" dirty="0">
            <a:solidFill>
              <a:schemeClr val="tx1"/>
            </a:solidFill>
            <a:latin typeface="Optane"/>
          </a:endParaRPr>
        </a:p>
      </dsp:txBody>
      <dsp:txXfrm>
        <a:off x="2808375" y="2448347"/>
        <a:ext cx="3652362" cy="219141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BB2BD7F-76D8-4979-B960-C5A8BCD0723E}">
      <dsp:nvSpPr>
        <dsp:cNvPr id="0" name=""/>
        <dsp:cNvSpPr/>
      </dsp:nvSpPr>
      <dsp:spPr>
        <a:xfrm>
          <a:off x="0" y="298974"/>
          <a:ext cx="9145270" cy="856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37BBE98-0A82-45E7-8345-532E712F4D40}">
      <dsp:nvSpPr>
        <dsp:cNvPr id="0" name=""/>
        <dsp:cNvSpPr/>
      </dsp:nvSpPr>
      <dsp:spPr>
        <a:xfrm>
          <a:off x="457263" y="59436"/>
          <a:ext cx="8525961" cy="741378"/>
        </a:xfrm>
        <a:prstGeom prst="roundRect">
          <a:avLst/>
        </a:prstGeom>
        <a:solidFill>
          <a:schemeClr val="accent1">
            <a:lumMod val="60000"/>
            <a:lumOff val="4000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969" tIns="0" rIns="241969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800" b="1" kern="1200" dirty="0" smtClean="0">
              <a:solidFill>
                <a:schemeClr val="tx1"/>
              </a:solidFill>
              <a:latin typeface="Optane"/>
            </a:rPr>
            <a:t>Social assistance </a:t>
          </a:r>
          <a:r>
            <a:rPr lang="zh-CN" altLang="en-US" sz="2800" b="1" kern="1200" dirty="0" smtClean="0">
              <a:solidFill>
                <a:schemeClr val="tx1"/>
              </a:solidFill>
              <a:latin typeface="Optane"/>
            </a:rPr>
            <a:t>社会救济</a:t>
          </a:r>
          <a:endParaRPr lang="es-ES" sz="2800" b="1" kern="1200" dirty="0">
            <a:solidFill>
              <a:schemeClr val="tx1"/>
            </a:solidFill>
            <a:latin typeface="Optane"/>
          </a:endParaRPr>
        </a:p>
      </dsp:txBody>
      <dsp:txXfrm>
        <a:off x="493454" y="95627"/>
        <a:ext cx="8453579" cy="668996"/>
      </dsp:txXfrm>
    </dsp:sp>
    <dsp:sp modelId="{083AEBBE-6FF0-4EEB-90FD-761D878797BD}">
      <dsp:nvSpPr>
        <dsp:cNvPr id="0" name=""/>
        <dsp:cNvSpPr/>
      </dsp:nvSpPr>
      <dsp:spPr>
        <a:xfrm>
          <a:off x="0" y="1605630"/>
          <a:ext cx="9145270" cy="856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4C0D825-9CCF-48B1-B981-7153A9C3F659}">
      <dsp:nvSpPr>
        <dsp:cNvPr id="0" name=""/>
        <dsp:cNvSpPr/>
      </dsp:nvSpPr>
      <dsp:spPr>
        <a:xfrm>
          <a:off x="457263" y="1339374"/>
          <a:ext cx="8524104" cy="768096"/>
        </a:xfrm>
        <a:prstGeom prst="roundRect">
          <a:avLst/>
        </a:prstGeom>
        <a:solidFill>
          <a:srgbClr val="92D050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969" tIns="0" rIns="241969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800" b="1" kern="1200" dirty="0" smtClean="0">
              <a:solidFill>
                <a:schemeClr val="tx1"/>
              </a:solidFill>
              <a:latin typeface="Optane"/>
            </a:rPr>
            <a:t>Medical assistance </a:t>
          </a:r>
          <a:r>
            <a:rPr lang="zh-CN" altLang="en-US" sz="2800" b="1" kern="1200" dirty="0" smtClean="0">
              <a:solidFill>
                <a:schemeClr val="tx1"/>
              </a:solidFill>
              <a:latin typeface="Optane"/>
            </a:rPr>
            <a:t>医疗救济</a:t>
          </a:r>
          <a:endParaRPr lang="es-ES" sz="2800" b="1" kern="1200" dirty="0">
            <a:solidFill>
              <a:schemeClr val="tx1"/>
            </a:solidFill>
            <a:latin typeface="Optane"/>
          </a:endParaRPr>
        </a:p>
      </dsp:txBody>
      <dsp:txXfrm>
        <a:off x="494758" y="1376869"/>
        <a:ext cx="8449114" cy="693106"/>
      </dsp:txXfrm>
    </dsp:sp>
    <dsp:sp modelId="{607D6F3A-07F3-49B7-BFA6-BB97E5B260F1}">
      <dsp:nvSpPr>
        <dsp:cNvPr id="0" name=""/>
        <dsp:cNvSpPr/>
      </dsp:nvSpPr>
      <dsp:spPr>
        <a:xfrm>
          <a:off x="0" y="3733437"/>
          <a:ext cx="9145270" cy="856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EEB924E-2D77-4F18-A471-537E8B9FD180}">
      <dsp:nvSpPr>
        <dsp:cNvPr id="0" name=""/>
        <dsp:cNvSpPr/>
      </dsp:nvSpPr>
      <dsp:spPr>
        <a:xfrm>
          <a:off x="453774" y="2663805"/>
          <a:ext cx="8580887" cy="1589246"/>
        </a:xfrm>
        <a:prstGeom prst="roundRect">
          <a:avLst/>
        </a:prstGeom>
        <a:solidFill>
          <a:srgbClr val="FFCC00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969" tIns="0" rIns="241969" bIns="0" numCol="1" spcCol="1270" anchor="ctr" anchorCtr="0">
          <a:noAutofit/>
        </a:bodyPr>
        <a:lstStyle/>
        <a:p>
          <a:pPr lvl="0" algn="l" defTabSz="8890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2000" b="1" kern="1200" dirty="0" smtClean="0">
              <a:solidFill>
                <a:schemeClr val="tx1"/>
              </a:solidFill>
              <a:latin typeface="Optane"/>
            </a:rPr>
            <a:t>Benefits in relation to which a Member State assumes the liability for damages to persons such as victims of war and victims of crime, assassination or terrorist acts</a:t>
          </a:r>
        </a:p>
        <a:p>
          <a:pPr lvl="0" algn="l" defTabSz="8890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2000" b="1" kern="1200" dirty="0" smtClean="0">
              <a:solidFill>
                <a:schemeClr val="tx1"/>
              </a:solidFill>
              <a:latin typeface="Optane"/>
            </a:rPr>
            <a:t>跟以下内容相关的福利：一个成员国承担人员受伤的所有责任，比如战胜、犯罪、刺杀或者恐怖主义行为的受害者</a:t>
          </a:r>
          <a:endParaRPr lang="en-US" sz="2000" b="1" kern="1200" dirty="0" smtClean="0">
            <a:solidFill>
              <a:schemeClr val="tx1"/>
            </a:solidFill>
            <a:latin typeface="Optane"/>
          </a:endParaRPr>
        </a:p>
      </dsp:txBody>
      <dsp:txXfrm>
        <a:off x="531355" y="2741386"/>
        <a:ext cx="8425725" cy="1434084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#1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lnSpAfChP" val="20"/>
              <dgm:param type="stBulletLvl" val="1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8/layout/VerticalCurvedList#1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srcNode" val="srcNode"/>
            <dgm:param type="dstNode" val="dstNode"/>
            <dgm:param type="endSty" val="noArr"/>
            <dgm:param type="connRout" val="curve"/>
            <dgm:param type="begPts" val="ctr"/>
            <dgm:param type="endPts" val="ct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cycle6#1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endSty" val="noArr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equation2#1">
  <dgm:title val=""/>
  <dgm:desc val=""/>
  <dgm:catLst>
    <dgm:cat type="relationship" pri="18000"/>
    <dgm:cat type="process" pri="2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linDir" val="fromL"/>
          <dgm:param type="fallback" val="2D"/>
        </dgm:alg>
      </dgm:if>
      <dgm:else name="Name3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ch" ptType="node" func="cnt" op="gte" val="3">
        <dgm:constrLst>
          <dgm:constr type="h" for="des" forName="node" refType="w" fact="0.5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ch" forName="lastNode" op="equ" val="65"/>
          <dgm:constr type="primFontSz" for="des" forName="node" op="equ" val="65"/>
          <dgm:constr type="primFontSz" for="des" forName="sibTrans" val="55"/>
          <dgm:constr type="primFontSz" for="des" forName="sibTrans" refType="primFontSz" refFor="des" refForName="node" op="lte" fact="0.8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if>
      <dgm:else name="Name6">
        <dgm:constrLst>
          <dgm:constr type="h" for="des" forName="node" refType="w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des" forName="node" val="65"/>
          <dgm:constr type="primFontSz" for="ch" forName="lastNode" refType="primFontSz" refFor="des" refForName="node" op="equ"/>
          <dgm:constr type="primFontSz" for="des" forName="sibTrans" val="55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else>
    </dgm:choose>
    <dgm:ruleLst/>
    <dgm:choose name="Name7">
      <dgm:if name="Name8" axis="ch" ptType="node" func="cnt" op="gte" val="1">
        <dgm:layoutNode name="vNodes">
          <dgm:alg type="lin">
            <dgm:param type="linDir" val="fromT"/>
            <dgm:param type="fallback" val="2D"/>
          </dgm:alg>
          <dgm:shape xmlns:r="http://schemas.openxmlformats.org/officeDocument/2006/relationships" r:blip="">
            <dgm:adjLst/>
          </dgm:shape>
          <dgm:presOf/>
          <dgm:constrLst/>
          <dgm:ruleLst/>
          <dgm:forEach name="Name9" axis="ch" ptType="node">
            <dgm:choose name="Name10">
              <dgm:if name="Name11" axis="self" func="revPos" op="neq" val="1">
                <dgm:layoutNode name="node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  <dgm:choose name="Name12">
                  <dgm:if name="Name13" axis="self" ptType="node" func="revPos" op="gt" val="2">
                    <dgm:forEach name="sibTransForEach" axis="followSib" ptType="sibTrans" cnt="1">
                      <dgm:layoutNode name="spacerT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  <dgm:layoutNode name="sibTrans">
                        <dgm:alg type="tx"/>
                        <dgm:shape xmlns:r="http://schemas.openxmlformats.org/officeDocument/2006/relationships" type="mathPlus" r:blip="">
                          <dgm:adjLst/>
                        </dgm:shape>
                        <dgm:presOf axis="self"/>
                        <dgm:constrLst>
                          <dgm:constr type="h" refType="w"/>
                          <dgm:constr type="lMarg"/>
                          <dgm:constr type="rMarg"/>
                          <dgm:constr type="tMarg"/>
                          <dgm:constr type="bMarg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spacerB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</dgm:forEach>
                  </dgm:if>
                  <dgm:else name="Name14"/>
                </dgm:choose>
              </dgm:if>
              <dgm:else name="Name15"/>
            </dgm:choose>
          </dgm:forEach>
        </dgm:layoutNode>
        <dgm:choose name="Name16">
          <dgm:if name="Name17" axis="ch" ptType="node" func="cnt" op="gt" val="1">
            <dgm:layoutNode name="sibTransLast">
              <dgm:alg type="conn">
                <dgm:param type="srcNode" val="vNodes"/>
                <dgm:param type="dstNode" val="lastNode"/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ch" ptType="sibTrans" st="-1" cnt="1"/>
              <dgm:constrLst>
                <dgm:constr type="h" refType="w" fact="0.62"/>
                <dgm:constr type="connDist"/>
                <dgm:constr type="begPad" refType="connDist" fact="0.25"/>
                <dgm:constr type="endPad" refType="connDist" fact="0.22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ch desOrSelf" ptType="sibTrans sibTrans" st="-1 1" cnt="1 0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if>
          <dgm:else name="Name18"/>
        </dgm:choose>
        <dgm:layoutNode name="lastNode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ellipse" r:blip="">
            <dgm:adjLst/>
          </dgm:shape>
          <dgm:presOf axis="ch desOrSelf" ptType="node node" st="-1 1" cnt="1 0"/>
          <dgm:constrLst>
            <dgm:constr type="h" refType="w"/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</dgm:if>
      <dgm:else name="Name19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default#1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off" val="ctr"/>
          <dgm:param type="contDir" val="sameDir"/>
          <dgm:param type="grDir" val="tL"/>
          <dgm:param type="flowDir" val="row"/>
        </dgm:alg>
      </dgm:if>
      <dgm:else name="Name2">
        <dgm:alg type="snake">
          <dgm:param type="off" val="ctr"/>
          <dgm:param type="contDir" val="sameDir"/>
          <dgm:param type="grDir" val="tR"/>
          <dgm:param type="flowDir" val="row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#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nodeHorzAlign" val="l"/>
          <dgm:param type="horzAlign" val="l"/>
        </dgm:alg>
      </dgm:if>
      <dgm:else name="Name2">
        <dgm:alg type="lin">
          <dgm:param type="linDir" val="fromT"/>
          <dgm:param type="vertAlign" val="mid"/>
          <dgm:param type="nodeHorzAlign" val="r"/>
          <dgm:param type="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nodeHorzAlign" val="l"/>
              <dgm:param type="horzAlign" val="l"/>
            </dgm:alg>
          </dgm:if>
          <dgm:else name="Name6">
            <dgm:alg type="lin">
              <dgm:param type="linDir" val="fromR"/>
              <dgm:param type="nodeHorzAlign" val="r"/>
              <dgm:param type="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ierarchy2#1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endSty" val="noArr"/>
                        <dgm:param type="begPts" val="midR"/>
                        <dgm:param type="endPts" val="midL"/>
                      </dgm:alg>
                    </dgm:if>
                    <dgm:else name="Name14">
                      <dgm:alg type="conn">
                        <dgm:param type="dim" val="1D"/>
                        <dgm:param type="endSty" val="noArr"/>
                        <dgm:param type="begPts" val="midL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equation2#2">
  <dgm:title val=""/>
  <dgm:desc val=""/>
  <dgm:catLst>
    <dgm:cat type="relationship" pri="18000"/>
    <dgm:cat type="process" pri="2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linDir" val="fromL"/>
          <dgm:param type="fallback" val="2D"/>
        </dgm:alg>
      </dgm:if>
      <dgm:else name="Name3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ch" ptType="node" func="cnt" op="gte" val="3">
        <dgm:constrLst>
          <dgm:constr type="h" for="des" forName="node" refType="w" fact="0.5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ch" forName="lastNode" op="equ" val="65"/>
          <dgm:constr type="primFontSz" for="des" forName="node" op="equ" val="65"/>
          <dgm:constr type="primFontSz" for="des" forName="sibTrans" val="55"/>
          <dgm:constr type="primFontSz" for="des" forName="sibTrans" refType="primFontSz" refFor="des" refForName="node" op="lte" fact="0.8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if>
      <dgm:else name="Name6">
        <dgm:constrLst>
          <dgm:constr type="h" for="des" forName="node" refType="w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des" forName="node" val="65"/>
          <dgm:constr type="primFontSz" for="ch" forName="lastNode" refType="primFontSz" refFor="des" refForName="node" op="equ"/>
          <dgm:constr type="primFontSz" for="des" forName="sibTrans" val="55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else>
    </dgm:choose>
    <dgm:ruleLst/>
    <dgm:choose name="Name7">
      <dgm:if name="Name8" axis="ch" ptType="node" func="cnt" op="gte" val="1">
        <dgm:layoutNode name="vNodes">
          <dgm:alg type="lin">
            <dgm:param type="linDir" val="fromT"/>
            <dgm:param type="fallback" val="2D"/>
          </dgm:alg>
          <dgm:shape xmlns:r="http://schemas.openxmlformats.org/officeDocument/2006/relationships" r:blip="">
            <dgm:adjLst/>
          </dgm:shape>
          <dgm:presOf/>
          <dgm:constrLst/>
          <dgm:ruleLst/>
          <dgm:forEach name="Name9" axis="ch" ptType="node">
            <dgm:choose name="Name10">
              <dgm:if name="Name11" axis="self" func="revPos" op="neq" val="1">
                <dgm:layoutNode name="node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  <dgm:choose name="Name12">
                  <dgm:if name="Name13" axis="self" ptType="node" func="revPos" op="gt" val="2">
                    <dgm:forEach name="sibTransForEach" axis="followSib" ptType="sibTrans" cnt="1">
                      <dgm:layoutNode name="spacerT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  <dgm:layoutNode name="sibTrans">
                        <dgm:alg type="tx"/>
                        <dgm:shape xmlns:r="http://schemas.openxmlformats.org/officeDocument/2006/relationships" type="mathPlus" r:blip="">
                          <dgm:adjLst/>
                        </dgm:shape>
                        <dgm:presOf axis="self"/>
                        <dgm:constrLst>
                          <dgm:constr type="h" refType="w"/>
                          <dgm:constr type="lMarg"/>
                          <dgm:constr type="rMarg"/>
                          <dgm:constr type="tMarg"/>
                          <dgm:constr type="bMarg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spacerB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</dgm:forEach>
                  </dgm:if>
                  <dgm:else name="Name14"/>
                </dgm:choose>
              </dgm:if>
              <dgm:else name="Name15"/>
            </dgm:choose>
          </dgm:forEach>
        </dgm:layoutNode>
        <dgm:choose name="Name16">
          <dgm:if name="Name17" axis="ch" ptType="node" func="cnt" op="gt" val="1">
            <dgm:layoutNode name="sibTransLast">
              <dgm:alg type="conn">
                <dgm:param type="srcNode" val="vNodes"/>
                <dgm:param type="dstNode" val="lastNode"/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ch" ptType="sibTrans" st="-1" cnt="1"/>
              <dgm:constrLst>
                <dgm:constr type="h" refType="w" fact="0.62"/>
                <dgm:constr type="connDist"/>
                <dgm:constr type="begPad" refType="connDist" fact="0.25"/>
                <dgm:constr type="endPad" refType="connDist" fact="0.22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ch desOrSelf" ptType="sibTrans sibTrans" st="-1 1" cnt="1 0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if>
          <dgm:else name="Name18"/>
        </dgm:choose>
        <dgm:layoutNode name="lastNode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ellipse" r:blip="">
            <dgm:adjLst/>
          </dgm:shape>
          <dgm:presOf axis="ch desOrSelf" ptType="node node" st="-1 1" cnt="1 0"/>
          <dgm:constrLst>
            <dgm:constr type="h" refType="w"/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</dgm:if>
      <dgm:else name="Name19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#8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#9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#10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#1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#1">
  <dgm:title val=""/>
  <dgm:desc val=""/>
  <dgm:catLst>
    <dgm:cat type="3D" pri="11300"/>
  </dgm:catLst>
  <dgm:scene3d>
    <a:camera prst="orthographicFront"/>
    <a:lightRig rig="threePt" dir="t"/>
  </dgm:scene3d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#2">
  <dgm:title val=""/>
  <dgm:desc val=""/>
  <dgm:catLst>
    <dgm:cat type="3D" pri="11300"/>
  </dgm:catLst>
  <dgm:scene3d>
    <a:camera prst="orthographicFront"/>
    <a:lightRig rig="threePt" dir="t"/>
  </dgm:scene3d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#2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#3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#4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#5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#6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#7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6370" tIns="48186" rIns="96370" bIns="48186" numCol="1" anchor="t" anchorCtr="0" compatLnSpc="1"/>
          <a:lstStyle>
            <a:lvl1pPr defTabSz="897255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6370" tIns="48186" rIns="96370" bIns="48186" numCol="1" anchor="t" anchorCtr="0" compatLnSpc="1"/>
          <a:lstStyle>
            <a:lvl1pPr algn="r" defTabSz="897255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t>11/06/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6370" tIns="48186" rIns="96370" bIns="48186" numCol="1" anchor="b" anchorCtr="0" compatLnSpc="1"/>
          <a:lstStyle>
            <a:lvl1pPr defTabSz="897255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6370" tIns="48186" rIns="96370" bIns="48186" numCol="1" anchor="b" anchorCtr="0" compatLnSpc="1"/>
          <a:lstStyle>
            <a:lvl1pPr algn="r" defTabSz="897255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04132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6370" tIns="48186" rIns="96370" bIns="48186" numCol="1" anchor="t" anchorCtr="0" compatLnSpc="1"/>
          <a:lstStyle>
            <a:lvl1pPr defTabSz="897255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6370" tIns="48186" rIns="96370" bIns="48186" numCol="1" anchor="t" anchorCtr="0" compatLnSpc="1"/>
          <a:lstStyle>
            <a:lvl1pPr algn="r" defTabSz="897255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t>11/06/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6370" tIns="48186" rIns="96370" bIns="48186" numCol="1" anchor="t" anchorCtr="0" compatLnSpc="1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6370" tIns="48186" rIns="96370" bIns="48186" numCol="1" anchor="b" anchorCtr="0" compatLnSpc="1"/>
          <a:lstStyle>
            <a:lvl1pPr defTabSz="897255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6370" tIns="48186" rIns="96370" bIns="48186" numCol="1" anchor="b" anchorCtr="0" compatLnSpc="1"/>
          <a:lstStyle>
            <a:lvl1pPr algn="r" defTabSz="897255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269614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t>17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t>25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/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943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t>11/06/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t>11/06/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201"/>
          <a:stretch>
            <a:fillRect/>
          </a:stretch>
        </p:blipFill>
        <p:spPr bwMode="auto">
          <a:xfrm>
            <a:off x="3296770" y="172916"/>
            <a:ext cx="2930597" cy="2272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03"/>
          <a:stretch>
            <a:fillRect/>
          </a:stretch>
        </p:blipFill>
        <p:spPr bwMode="auto">
          <a:xfrm>
            <a:off x="2504660" y="2001376"/>
            <a:ext cx="4983180" cy="1796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t>11/06/16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t>11/06/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t>11/06/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t>11/06/16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t>11/06/16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t>11/06/16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t>11/06/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t>11/06/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t>11/06/16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t>‹#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811928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dirty="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  <p:pic>
        <p:nvPicPr>
          <p:cNvPr id="10" name="Picture 8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6399" y="63737"/>
            <a:ext cx="2190906" cy="540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4" Type="http://schemas.openxmlformats.org/officeDocument/2006/relationships/image" Target="../media/image18.jpeg"/><Relationship Id="rId5" Type="http://schemas.openxmlformats.org/officeDocument/2006/relationships/image" Target="../media/image21.jpe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2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4" Type="http://schemas.openxmlformats.org/officeDocument/2006/relationships/image" Target="../media/image25.jpeg"/><Relationship Id="rId5" Type="http://schemas.openxmlformats.org/officeDocument/2006/relationships/image" Target="../media/image26.png"/><Relationship Id="rId6" Type="http://schemas.openxmlformats.org/officeDocument/2006/relationships/image" Target="../media/image27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3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4" Type="http://schemas.openxmlformats.org/officeDocument/2006/relationships/diagramQuickStyle" Target="../diagrams/quickStyle4.xml"/><Relationship Id="rId5" Type="http://schemas.openxmlformats.org/officeDocument/2006/relationships/diagramColors" Target="../diagrams/colors4.xml"/><Relationship Id="rId6" Type="http://schemas.microsoft.com/office/2007/relationships/diagramDrawing" Target="../diagrams/drawing4.xml"/><Relationship Id="rId7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4" Type="http://schemas.openxmlformats.org/officeDocument/2006/relationships/diagramQuickStyle" Target="../diagrams/quickStyle5.xml"/><Relationship Id="rId5" Type="http://schemas.openxmlformats.org/officeDocument/2006/relationships/diagramColors" Target="../diagrams/colors5.xml"/><Relationship Id="rId6" Type="http://schemas.microsoft.com/office/2007/relationships/diagramDrawing" Target="../diagrams/drawing5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4" Type="http://schemas.openxmlformats.org/officeDocument/2006/relationships/diagramQuickStyle" Target="../diagrams/quickStyle6.xml"/><Relationship Id="rId5" Type="http://schemas.openxmlformats.org/officeDocument/2006/relationships/diagramColors" Target="../diagrams/colors6.xml"/><Relationship Id="rId6" Type="http://schemas.microsoft.com/office/2007/relationships/diagramDrawing" Target="../diagrams/drawing6.xml"/><Relationship Id="rId7" Type="http://schemas.openxmlformats.org/officeDocument/2006/relationships/image" Target="../media/image29.png"/><Relationship Id="rId8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6.xml"/></Relationships>
</file>

<file path=ppt/slides/_rels/slide17.xml.rels><?xml version="1.0" encoding="UTF-8" standalone="yes"?>
<Relationships xmlns="http://schemas.openxmlformats.org/package/2006/relationships"><Relationship Id="rId11" Type="http://schemas.openxmlformats.org/officeDocument/2006/relationships/diagramColors" Target="../diagrams/colors8.xml"/><Relationship Id="rId12" Type="http://schemas.microsoft.com/office/2007/relationships/diagramDrawing" Target="../diagrams/drawing8.xml"/><Relationship Id="rId13" Type="http://schemas.openxmlformats.org/officeDocument/2006/relationships/image" Target="../media/image32.png"/><Relationship Id="rId14" Type="http://schemas.openxmlformats.org/officeDocument/2006/relationships/image" Target="../media/image33.png"/><Relationship Id="rId15" Type="http://schemas.openxmlformats.org/officeDocument/2006/relationships/image" Target="../media/image34.emf"/><Relationship Id="rId16" Type="http://schemas.openxmlformats.org/officeDocument/2006/relationships/image" Target="../media/image35.emf"/><Relationship Id="rId17" Type="http://schemas.openxmlformats.org/officeDocument/2006/relationships/image" Target="../media/image36.emf"/><Relationship Id="rId18" Type="http://schemas.openxmlformats.org/officeDocument/2006/relationships/image" Target="../media/image37.emf"/><Relationship Id="rId19" Type="http://schemas.openxmlformats.org/officeDocument/2006/relationships/image" Target="../media/image38.emf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Relationship Id="rId3" Type="http://schemas.openxmlformats.org/officeDocument/2006/relationships/diagramData" Target="../diagrams/data7.xml"/><Relationship Id="rId4" Type="http://schemas.openxmlformats.org/officeDocument/2006/relationships/diagramLayout" Target="../diagrams/layout7.xml"/><Relationship Id="rId5" Type="http://schemas.openxmlformats.org/officeDocument/2006/relationships/diagramQuickStyle" Target="../diagrams/quickStyle7.xml"/><Relationship Id="rId6" Type="http://schemas.openxmlformats.org/officeDocument/2006/relationships/diagramColors" Target="../diagrams/colors7.xml"/><Relationship Id="rId7" Type="http://schemas.microsoft.com/office/2007/relationships/diagramDrawing" Target="../diagrams/drawing7.xml"/><Relationship Id="rId8" Type="http://schemas.openxmlformats.org/officeDocument/2006/relationships/diagramData" Target="../diagrams/data8.xml"/><Relationship Id="rId9" Type="http://schemas.openxmlformats.org/officeDocument/2006/relationships/diagramLayout" Target="../diagrams/layout8.xml"/><Relationship Id="rId10" Type="http://schemas.openxmlformats.org/officeDocument/2006/relationships/diagramQuickStyle" Target="../diagrams/quickStyle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4" Type="http://schemas.openxmlformats.org/officeDocument/2006/relationships/diagramQuickStyle" Target="../diagrams/quickStyle9.xml"/><Relationship Id="rId5" Type="http://schemas.openxmlformats.org/officeDocument/2006/relationships/diagramColors" Target="../diagrams/colors9.xml"/><Relationship Id="rId6" Type="http://schemas.microsoft.com/office/2007/relationships/diagramDrawing" Target="../diagrams/drawing9.xml"/><Relationship Id="rId7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4" Type="http://schemas.openxmlformats.org/officeDocument/2006/relationships/diagramQuickStyle" Target="../diagrams/quickStyle10.xml"/><Relationship Id="rId5" Type="http://schemas.openxmlformats.org/officeDocument/2006/relationships/diagramColors" Target="../diagrams/colors10.xml"/><Relationship Id="rId6" Type="http://schemas.microsoft.com/office/2007/relationships/diagramDrawing" Target="../diagrams/drawing10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4" Type="http://schemas.openxmlformats.org/officeDocument/2006/relationships/image" Target="../media/image44.jpeg"/><Relationship Id="rId5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2.jpe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6.png"/></Relationships>
</file>

<file path=ppt/slides/_rels/slide22.xml.rels><?xml version="1.0" encoding="UTF-8" standalone="yes"?>
<Relationships xmlns="http://schemas.openxmlformats.org/package/2006/relationships"><Relationship Id="rId11" Type="http://schemas.microsoft.com/office/2007/relationships/diagramDrawing" Target="../diagrams/drawing12.xml"/><Relationship Id="rId12" Type="http://schemas.openxmlformats.org/officeDocument/2006/relationships/image" Target="../media/image48.png"/><Relationship Id="rId13" Type="http://schemas.openxmlformats.org/officeDocument/2006/relationships/image" Target="../media/image49.jpeg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11.xml"/><Relationship Id="rId3" Type="http://schemas.openxmlformats.org/officeDocument/2006/relationships/diagramLayout" Target="../diagrams/layout11.xml"/><Relationship Id="rId4" Type="http://schemas.openxmlformats.org/officeDocument/2006/relationships/diagramQuickStyle" Target="../diagrams/quickStyle11.xml"/><Relationship Id="rId5" Type="http://schemas.openxmlformats.org/officeDocument/2006/relationships/diagramColors" Target="../diagrams/colors11.xml"/><Relationship Id="rId6" Type="http://schemas.microsoft.com/office/2007/relationships/diagramDrawing" Target="../diagrams/drawing11.xml"/><Relationship Id="rId7" Type="http://schemas.openxmlformats.org/officeDocument/2006/relationships/diagramData" Target="../diagrams/data12.xml"/><Relationship Id="rId8" Type="http://schemas.openxmlformats.org/officeDocument/2006/relationships/diagramLayout" Target="../diagrams/layout12.xml"/><Relationship Id="rId9" Type="http://schemas.openxmlformats.org/officeDocument/2006/relationships/diagramQuickStyle" Target="../diagrams/quickStyle12.xml"/><Relationship Id="rId10" Type="http://schemas.openxmlformats.org/officeDocument/2006/relationships/diagramColors" Target="../diagrams/colors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4" Type="http://schemas.openxmlformats.org/officeDocument/2006/relationships/diagramQuickStyle" Target="../diagrams/quickStyle13.xml"/><Relationship Id="rId5" Type="http://schemas.openxmlformats.org/officeDocument/2006/relationships/diagramColors" Target="../diagrams/colors13.xml"/><Relationship Id="rId6" Type="http://schemas.microsoft.com/office/2007/relationships/diagramDrawing" Target="../diagrams/drawing13.xml"/><Relationship Id="rId7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1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4" Type="http://schemas.openxmlformats.org/officeDocument/2006/relationships/image" Target="../media/image53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5" Type="http://schemas.openxmlformats.org/officeDocument/2006/relationships/image" Target="../media/image9.png"/><Relationship Id="rId6" Type="http://schemas.openxmlformats.org/officeDocument/2006/relationships/image" Target="../media/image10.png"/><Relationship Id="rId7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4" Type="http://schemas.openxmlformats.org/officeDocument/2006/relationships/diagramQuickStyle" Target="../diagrams/quickStyle2.xml"/><Relationship Id="rId5" Type="http://schemas.openxmlformats.org/officeDocument/2006/relationships/diagramColors" Target="../diagrams/colors2.xml"/><Relationship Id="rId6" Type="http://schemas.microsoft.com/office/2007/relationships/diagramDrawing" Target="../diagrams/drawing2.xml"/><Relationship Id="rId7" Type="http://schemas.openxmlformats.org/officeDocument/2006/relationships/image" Target="../media/image12.png"/><Relationship Id="rId8" Type="http://schemas.openxmlformats.org/officeDocument/2006/relationships/image" Target="../media/image13.jpeg"/><Relationship Id="rId9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4" Type="http://schemas.openxmlformats.org/officeDocument/2006/relationships/diagramQuickStyle" Target="../diagrams/quickStyle3.xml"/><Relationship Id="rId5" Type="http://schemas.openxmlformats.org/officeDocument/2006/relationships/diagramColors" Target="../diagrams/colors3.xml"/><Relationship Id="rId6" Type="http://schemas.microsoft.com/office/2007/relationships/diagramDrawing" Target="../diagrams/drawing3.xml"/><Relationship Id="rId7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4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488380" y="4021399"/>
            <a:ext cx="9001249" cy="2369880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GB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Coordination of the different Social Security </a:t>
            </a:r>
            <a:r>
              <a:rPr lang="en-GB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s</a:t>
            </a:r>
            <a:r>
              <a:rPr lang="en-GB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ystems in the EU 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zh-CN" altLang="en-GB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欧盟不同社保体系之间的协调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it-IT" sz="2000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V</a:t>
            </a:r>
            <a:r>
              <a:rPr lang="it-IT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alladolid, 30 June 2016</a:t>
            </a:r>
            <a:endParaRPr lang="it-IT" sz="2000" i="1" kern="0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/>
              <a:t>REGULATIONS (EU) nº 883/04 and nº 987/09: GENERAL </a:t>
            </a:r>
            <a:r>
              <a:rPr lang="es-ES" dirty="0" smtClean="0"/>
              <a:t>PRINCIPLES (5)</a:t>
            </a:r>
            <a:br>
              <a:rPr lang="es-ES" dirty="0" smtClean="0"/>
            </a:br>
            <a:r>
              <a:rPr lang="es-ES" altLang="zh-CN" dirty="0"/>
              <a:t>nº </a:t>
            </a:r>
            <a:r>
              <a:rPr lang="es-ES" altLang="zh-CN" dirty="0" smtClean="0"/>
              <a:t> 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883/2004 </a:t>
            </a:r>
            <a:r>
              <a:rPr lang="zh-CN" alt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和</a:t>
            </a:r>
            <a:r>
              <a:rPr lang="es-ES" altLang="zh-CN" dirty="0"/>
              <a:t>nº </a:t>
            </a:r>
            <a:r>
              <a:rPr lang="es-ES" altLang="zh-CN" dirty="0" smtClean="0"/>
              <a:t> 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987/2009</a:t>
            </a:r>
            <a:r>
              <a:rPr lang="zh-CN" alt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规定：总原则</a:t>
            </a:r>
            <a:r>
              <a:rPr lang="es-ES" dirty="0" smtClean="0">
                <a:sym typeface="+mn-ea"/>
              </a:rPr>
              <a:t>(</a:t>
            </a:r>
            <a:r>
              <a:rPr lang="en-US" altLang="es-ES" dirty="0" smtClean="0">
                <a:sym typeface="+mn-ea"/>
              </a:rPr>
              <a:t>5</a:t>
            </a:r>
            <a:r>
              <a:rPr lang="es-ES" dirty="0" smtClean="0">
                <a:sym typeface="+mn-ea"/>
              </a:rPr>
              <a:t>) </a:t>
            </a:r>
            <a:endParaRPr lang="es-ES" dirty="0"/>
          </a:p>
        </p:txBody>
      </p:sp>
      <p:sp>
        <p:nvSpPr>
          <p:cNvPr id="4" name="3 Rectángulo redondeado"/>
          <p:cNvSpPr/>
          <p:nvPr/>
        </p:nvSpPr>
        <p:spPr>
          <a:xfrm>
            <a:off x="624930" y="1119060"/>
            <a:ext cx="8569190" cy="914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800" b="1" dirty="0" smtClean="0">
                <a:latin typeface="Optane"/>
              </a:rPr>
              <a:t>A SINGLE APPLICABLE LEGISLATION (ART. 11.1) </a:t>
            </a:r>
            <a:r>
              <a:rPr lang="zh-CN" altLang="es-ES" sz="2800" b="1" dirty="0" smtClean="0">
                <a:latin typeface="Optane"/>
              </a:rPr>
              <a:t>一个单独可应用的法律（第</a:t>
            </a:r>
            <a:r>
              <a:rPr lang="en-US" altLang="zh-CN" sz="2800" b="1" dirty="0" smtClean="0">
                <a:latin typeface="Optane"/>
              </a:rPr>
              <a:t>11.1</a:t>
            </a:r>
            <a:r>
              <a:rPr lang="zh-CN" altLang="en-US" sz="2800" b="1" dirty="0" smtClean="0">
                <a:latin typeface="Optane"/>
              </a:rPr>
              <a:t>条</a:t>
            </a:r>
            <a:r>
              <a:rPr lang="zh-CN" altLang="es-ES" sz="2800" b="1" dirty="0" smtClean="0">
                <a:latin typeface="Optane"/>
              </a:rPr>
              <a:t>）</a:t>
            </a:r>
          </a:p>
        </p:txBody>
      </p:sp>
      <p:sp>
        <p:nvSpPr>
          <p:cNvPr id="5" name="4 Conector"/>
          <p:cNvSpPr/>
          <p:nvPr/>
        </p:nvSpPr>
        <p:spPr>
          <a:xfrm>
            <a:off x="600969" y="2071026"/>
            <a:ext cx="2448340" cy="2271780"/>
          </a:xfrm>
          <a:prstGeom prst="flowChartConnector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6" name="5 Conector"/>
          <p:cNvSpPr/>
          <p:nvPr/>
        </p:nvSpPr>
        <p:spPr>
          <a:xfrm>
            <a:off x="3039110" y="3807997"/>
            <a:ext cx="4136001" cy="2482610"/>
          </a:xfrm>
          <a:prstGeom prst="flowChartConnector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6 Conector"/>
          <p:cNvSpPr/>
          <p:nvPr/>
        </p:nvSpPr>
        <p:spPr>
          <a:xfrm>
            <a:off x="6825260" y="2122565"/>
            <a:ext cx="2520350" cy="2338300"/>
          </a:xfrm>
          <a:prstGeom prst="flowChartConnector">
            <a:avLst/>
          </a:prstGeom>
          <a:solidFill>
            <a:srgbClr val="FFCC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7213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3352" y="2453320"/>
            <a:ext cx="838395" cy="8383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7770" y="4303632"/>
            <a:ext cx="820645" cy="8206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4973" y="2286509"/>
            <a:ext cx="780923" cy="7809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7 CuadroTexto"/>
          <p:cNvSpPr txBox="1"/>
          <p:nvPr/>
        </p:nvSpPr>
        <p:spPr>
          <a:xfrm>
            <a:off x="848430" y="3284980"/>
            <a:ext cx="197693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200" b="1" dirty="0" smtClean="0">
                <a:latin typeface="Optane"/>
              </a:rPr>
              <a:t>HUNGARY </a:t>
            </a:r>
          </a:p>
          <a:p>
            <a:r>
              <a:rPr lang="zh-CN" altLang="es-ES" sz="2200" b="1" dirty="0" smtClean="0">
                <a:latin typeface="Optane"/>
              </a:rPr>
              <a:t>匈牙利</a:t>
            </a:r>
          </a:p>
        </p:txBody>
      </p:sp>
      <p:sp>
        <p:nvSpPr>
          <p:cNvPr id="12" name="11 CuadroTexto"/>
          <p:cNvSpPr txBox="1"/>
          <p:nvPr/>
        </p:nvSpPr>
        <p:spPr>
          <a:xfrm>
            <a:off x="7635285" y="3341306"/>
            <a:ext cx="185434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200" b="1" dirty="0" smtClean="0">
                <a:latin typeface="Optane"/>
              </a:rPr>
              <a:t>SWEDEN </a:t>
            </a:r>
          </a:p>
          <a:p>
            <a:r>
              <a:rPr lang="zh-CN" altLang="es-ES" sz="2200" b="1" dirty="0" smtClean="0">
                <a:latin typeface="Optane"/>
              </a:rPr>
              <a:t>瑞典</a:t>
            </a:r>
          </a:p>
        </p:txBody>
      </p:sp>
      <p:pic>
        <p:nvPicPr>
          <p:cNvPr id="172134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3100" y="4270924"/>
            <a:ext cx="843546" cy="826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13 CuadroTexto"/>
          <p:cNvSpPr txBox="1"/>
          <p:nvPr/>
        </p:nvSpPr>
        <p:spPr>
          <a:xfrm>
            <a:off x="4725975" y="4908833"/>
            <a:ext cx="877998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 dirty="0" smtClean="0">
                <a:latin typeface="Optane"/>
              </a:rPr>
              <a:t>MALTA</a:t>
            </a:r>
          </a:p>
          <a:p>
            <a:r>
              <a:rPr lang="zh-CN" altLang="en-US" sz="1600" b="1" dirty="0" smtClean="0">
                <a:latin typeface="Optane"/>
              </a:rPr>
              <a:t>马耳他</a:t>
            </a:r>
            <a:endParaRPr lang="es-ES" sz="1600" b="1" dirty="0">
              <a:latin typeface="Optane"/>
            </a:endParaRPr>
          </a:p>
        </p:txBody>
      </p:sp>
      <p:sp>
        <p:nvSpPr>
          <p:cNvPr id="15" name="14 CuadroTexto"/>
          <p:cNvSpPr txBox="1"/>
          <p:nvPr/>
        </p:nvSpPr>
        <p:spPr>
          <a:xfrm>
            <a:off x="4016870" y="5674110"/>
            <a:ext cx="2304320" cy="923330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 b="1" dirty="0" smtClean="0">
                <a:latin typeface="Optane"/>
              </a:rPr>
              <a:t>APPLICABLE </a:t>
            </a:r>
            <a:r>
              <a:rPr lang="es-ES" b="1" dirty="0" smtClean="0">
                <a:solidFill>
                  <a:srgbClr val="FFFFFF"/>
                </a:solidFill>
                <a:latin typeface="Optane"/>
              </a:rPr>
              <a:t> </a:t>
            </a:r>
            <a:r>
              <a:rPr lang="es-ES" b="1" dirty="0" smtClean="0">
                <a:latin typeface="Optane"/>
              </a:rPr>
              <a:t>LEGISLATION </a:t>
            </a:r>
          </a:p>
          <a:p>
            <a:pPr algn="ctr"/>
            <a:r>
              <a:rPr lang="zh-CN" altLang="en-US" b="1" dirty="0" smtClean="0">
                <a:latin typeface="Optane"/>
              </a:rPr>
              <a:t>适用法律</a:t>
            </a:r>
            <a:r>
              <a:rPr lang="zh-CN" altLang="es-ES" b="1" dirty="0" smtClean="0">
                <a:latin typeface="Optane"/>
              </a:rPr>
              <a:t>法律</a:t>
            </a:r>
          </a:p>
        </p:txBody>
      </p:sp>
      <p:sp>
        <p:nvSpPr>
          <p:cNvPr id="11" name="10 Más"/>
          <p:cNvSpPr/>
          <p:nvPr/>
        </p:nvSpPr>
        <p:spPr>
          <a:xfrm>
            <a:off x="4849304" y="4320769"/>
            <a:ext cx="546868" cy="529946"/>
          </a:xfrm>
          <a:prstGeom prst="mathPlus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3" name="12 Flecha derecha"/>
          <p:cNvSpPr/>
          <p:nvPr/>
        </p:nvSpPr>
        <p:spPr>
          <a:xfrm rot="1916635">
            <a:off x="2222850" y="3455966"/>
            <a:ext cx="1352821" cy="121147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4" name="23 Flecha derecha"/>
          <p:cNvSpPr/>
          <p:nvPr/>
        </p:nvSpPr>
        <p:spPr>
          <a:xfrm rot="8496953">
            <a:off x="6525564" y="3739049"/>
            <a:ext cx="1299095" cy="118794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28" name="27 Marcador de contenido" descr="imagesCAW93JZV.jpg"/>
          <p:cNvPicPr>
            <a:picLocks noGrp="1" noChangeAspect="1"/>
          </p:cNvPicPr>
          <p:nvPr>
            <p:ph idx="1"/>
          </p:nvPr>
        </p:nvPicPr>
        <p:blipFill>
          <a:blip r:embed="rId4" cstate="print"/>
          <a:stretch>
            <a:fillRect/>
          </a:stretch>
        </p:blipFill>
        <p:spPr>
          <a:xfrm>
            <a:off x="2698235" y="3876808"/>
            <a:ext cx="402050" cy="402050"/>
          </a:xfrm>
          <a:prstGeom prst="rect">
            <a:avLst/>
          </a:prstGeom>
        </p:spPr>
      </p:pic>
      <p:pic>
        <p:nvPicPr>
          <p:cNvPr id="29" name="27 Marcador de contenido" descr="imagesCAW93JZV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901071" y="4183692"/>
            <a:ext cx="402050" cy="402050"/>
          </a:xfrm>
          <a:prstGeom prst="rect">
            <a:avLst/>
          </a:prstGeom>
        </p:spPr>
      </p:pic>
      <p:pic>
        <p:nvPicPr>
          <p:cNvPr id="30" name="29 Imagen" descr="images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116764" y="2453320"/>
            <a:ext cx="1845348" cy="1194049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/>
              <a:t>REGULATIONS (EU) nº 883/04 and nº 987/09: GENERAL </a:t>
            </a:r>
            <a:r>
              <a:rPr lang="es-ES" dirty="0" smtClean="0"/>
              <a:t>PRINCIPLES (6)</a:t>
            </a:r>
            <a:br>
              <a:rPr lang="es-ES" dirty="0" smtClean="0"/>
            </a:br>
            <a:r>
              <a:rPr lang="es-ES" altLang="zh-CN" dirty="0"/>
              <a:t>nº </a:t>
            </a:r>
            <a:r>
              <a:rPr lang="es-ES" altLang="zh-CN" dirty="0" smtClean="0"/>
              <a:t> 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883/2004 </a:t>
            </a:r>
            <a:r>
              <a:rPr lang="zh-CN" alt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和</a:t>
            </a:r>
            <a:r>
              <a:rPr lang="es-ES" altLang="zh-CN" dirty="0"/>
              <a:t>nº </a:t>
            </a:r>
            <a:r>
              <a:rPr lang="es-ES" altLang="zh-CN" dirty="0" smtClean="0"/>
              <a:t> 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987/2009</a:t>
            </a:r>
            <a:r>
              <a:rPr lang="zh-CN" alt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规定：总原则</a:t>
            </a:r>
            <a:r>
              <a:rPr lang="es-ES" dirty="0" smtClean="0">
                <a:sym typeface="+mn-ea"/>
              </a:rPr>
              <a:t>(</a:t>
            </a:r>
            <a:r>
              <a:rPr lang="en-US" altLang="es-ES" dirty="0" smtClean="0">
                <a:sym typeface="+mn-ea"/>
              </a:rPr>
              <a:t>6</a:t>
            </a:r>
            <a:r>
              <a:rPr lang="es-ES" dirty="0" smtClean="0">
                <a:sym typeface="+mn-ea"/>
              </a:rPr>
              <a:t>) </a:t>
            </a:r>
            <a:endParaRPr lang="es-ES" dirty="0"/>
          </a:p>
        </p:txBody>
      </p:sp>
      <p:sp>
        <p:nvSpPr>
          <p:cNvPr id="4" name="3 Rectángulo redondeado"/>
          <p:cNvSpPr/>
          <p:nvPr/>
        </p:nvSpPr>
        <p:spPr>
          <a:xfrm>
            <a:off x="560390" y="1052670"/>
            <a:ext cx="8713210" cy="914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800" dirty="0" smtClean="0">
                <a:latin typeface="Optane"/>
              </a:rPr>
              <a:t>ADMINISTRATIVE COOPERATION (ART. 76) </a:t>
            </a:r>
          </a:p>
          <a:p>
            <a:pPr algn="ctr"/>
            <a:r>
              <a:rPr lang="zh-CN" altLang="es-ES" sz="2800" dirty="0" smtClean="0">
                <a:latin typeface="Optane"/>
              </a:rPr>
              <a:t>行政合作（第</a:t>
            </a:r>
            <a:r>
              <a:rPr lang="en-US" altLang="zh-CN" sz="2800" dirty="0" smtClean="0">
                <a:latin typeface="Optane"/>
              </a:rPr>
              <a:t>76</a:t>
            </a:r>
            <a:r>
              <a:rPr lang="zh-CN" altLang="en-US" sz="2800" dirty="0" smtClean="0">
                <a:latin typeface="Optane"/>
              </a:rPr>
              <a:t>条</a:t>
            </a:r>
            <a:r>
              <a:rPr lang="zh-CN" altLang="es-ES" sz="2800" dirty="0" smtClean="0">
                <a:latin typeface="Optane"/>
              </a:rPr>
              <a:t>）</a:t>
            </a:r>
          </a:p>
        </p:txBody>
      </p:sp>
      <p:pic>
        <p:nvPicPr>
          <p:cNvPr id="5" name="3 Marcador de contenido" descr="igualdad1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2180615" y="2276840"/>
            <a:ext cx="5472760" cy="3899341"/>
          </a:xfr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/>
              <a:t>REGULATIONS (EU) nº 883/04 and nº 987/09</a:t>
            </a:r>
            <a:r>
              <a:rPr lang="es-ES" dirty="0" smtClean="0"/>
              <a:t>: MEMBER STATES</a:t>
            </a:r>
            <a:br>
              <a:rPr lang="es-ES" dirty="0" smtClean="0"/>
            </a:br>
            <a:r>
              <a:rPr lang="en-US" alt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N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° 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883/2004 </a:t>
            </a:r>
            <a:r>
              <a:rPr lang="zh-CN" alt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和</a:t>
            </a:r>
            <a:r>
              <a:rPr lang="en-US" alt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N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° 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987/2009</a:t>
            </a:r>
            <a:r>
              <a:rPr lang="zh-CN" alt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规定：</a:t>
            </a:r>
            <a:r>
              <a:rPr 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成员国</a:t>
            </a:r>
            <a:endParaRPr lang="zh-CN" dirty="0"/>
          </a:p>
        </p:txBody>
      </p:sp>
      <p:sp>
        <p:nvSpPr>
          <p:cNvPr id="4" name="3 Rectángulo redondeado"/>
          <p:cNvSpPr/>
          <p:nvPr/>
        </p:nvSpPr>
        <p:spPr>
          <a:xfrm>
            <a:off x="560390" y="980660"/>
            <a:ext cx="8641200" cy="914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200" dirty="0" smtClean="0">
                <a:latin typeface="Optane"/>
              </a:rPr>
              <a:t>32 MEMBER STATES</a:t>
            </a:r>
          </a:p>
          <a:p>
            <a:pPr algn="ctr"/>
            <a:r>
              <a:rPr lang="en-US" altLang="es-ES" sz="3200" dirty="0">
                <a:latin typeface="Optane"/>
              </a:rPr>
              <a:t>32</a:t>
            </a:r>
            <a:r>
              <a:rPr lang="zh-CN" altLang="en-US" sz="3200" dirty="0">
                <a:latin typeface="Optane"/>
              </a:rPr>
              <a:t>个成员国</a:t>
            </a:r>
          </a:p>
        </p:txBody>
      </p:sp>
      <p:pic>
        <p:nvPicPr>
          <p:cNvPr id="5" name="4 Marcador de contenido" descr="EM-UE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250161" y="2356847"/>
            <a:ext cx="1591149" cy="1211125"/>
          </a:xfrm>
        </p:spPr>
      </p:pic>
      <p:pic>
        <p:nvPicPr>
          <p:cNvPr id="6" name="5 Imagen" descr="Suiza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847760" y="2297378"/>
            <a:ext cx="1303001" cy="955534"/>
          </a:xfrm>
          <a:prstGeom prst="rect">
            <a:avLst/>
          </a:prstGeom>
        </p:spPr>
      </p:pic>
      <p:sp>
        <p:nvSpPr>
          <p:cNvPr id="16" name="15 Más"/>
          <p:cNvSpPr/>
          <p:nvPr/>
        </p:nvSpPr>
        <p:spPr>
          <a:xfrm>
            <a:off x="8027663" y="2505210"/>
            <a:ext cx="914400" cy="914400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10 CuadroTexto"/>
          <p:cNvSpPr txBox="1"/>
          <p:nvPr/>
        </p:nvSpPr>
        <p:spPr>
          <a:xfrm>
            <a:off x="1136470" y="1895060"/>
            <a:ext cx="2155742" cy="7404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" b="1" dirty="0" smtClean="0">
                <a:latin typeface="Optane"/>
              </a:rPr>
              <a:t>EUROPEAN UNION </a:t>
            </a:r>
            <a:r>
              <a:rPr lang="zh-CN" altLang="es-ES" sz="2000" b="1" dirty="0" smtClean="0">
                <a:latin typeface="Optane"/>
              </a:rPr>
              <a:t>欧盟</a:t>
            </a:r>
          </a:p>
        </p:txBody>
      </p:sp>
      <p:sp>
        <p:nvSpPr>
          <p:cNvPr id="17" name="16 CuadroTexto"/>
          <p:cNvSpPr txBox="1"/>
          <p:nvPr/>
        </p:nvSpPr>
        <p:spPr>
          <a:xfrm>
            <a:off x="5847760" y="3252912"/>
            <a:ext cx="1767519" cy="7404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" b="1" dirty="0" smtClean="0">
                <a:latin typeface="Optane"/>
              </a:rPr>
              <a:t>SWITZERLAND </a:t>
            </a:r>
            <a:r>
              <a:rPr lang="zh-CN" altLang="es-ES" sz="2000" b="1" dirty="0" smtClean="0">
                <a:latin typeface="Optane"/>
              </a:rPr>
              <a:t>瑞典</a:t>
            </a:r>
          </a:p>
        </p:txBody>
      </p:sp>
      <p:sp>
        <p:nvSpPr>
          <p:cNvPr id="22" name="21 CuadroTexto"/>
          <p:cNvSpPr txBox="1"/>
          <p:nvPr/>
        </p:nvSpPr>
        <p:spPr>
          <a:xfrm>
            <a:off x="868400" y="3595918"/>
            <a:ext cx="3881120" cy="7404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000" b="1" dirty="0" smtClean="0">
                <a:latin typeface="Optane"/>
              </a:rPr>
              <a:t>28 EU MEMBER STATES </a:t>
            </a:r>
          </a:p>
          <a:p>
            <a:r>
              <a:rPr lang="en-US" altLang="es-ES" sz="2000" b="1" dirty="0">
                <a:latin typeface="Optane"/>
              </a:rPr>
              <a:t>28</a:t>
            </a:r>
            <a:r>
              <a:rPr lang="zh-CN" altLang="en-US" sz="2000" b="1" dirty="0">
                <a:latin typeface="Optane"/>
              </a:rPr>
              <a:t>个欧盟成员国</a:t>
            </a:r>
          </a:p>
        </p:txBody>
      </p:sp>
      <p:sp>
        <p:nvSpPr>
          <p:cNvPr id="30" name="29 Más"/>
          <p:cNvSpPr/>
          <p:nvPr/>
        </p:nvSpPr>
        <p:spPr>
          <a:xfrm>
            <a:off x="3744985" y="2569345"/>
            <a:ext cx="914400" cy="914400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1722368" name="1722367 Tabla"/>
          <p:cNvGraphicFramePr>
            <a:graphicFrameLocks noGrp="1"/>
          </p:cNvGraphicFramePr>
          <p:nvPr/>
        </p:nvGraphicFramePr>
        <p:xfrm>
          <a:off x="659054" y="4149100"/>
          <a:ext cx="8569190" cy="2099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569190"/>
              </a:tblGrid>
              <a:tr h="2099080"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41" name="40 Grupo"/>
          <p:cNvGrpSpPr/>
          <p:nvPr/>
        </p:nvGrpSpPr>
        <p:grpSpPr>
          <a:xfrm>
            <a:off x="1064765" y="4346999"/>
            <a:ext cx="8198629" cy="2038522"/>
            <a:chOff x="936321" y="4054734"/>
            <a:chExt cx="8198629" cy="2038522"/>
          </a:xfrm>
        </p:grpSpPr>
        <p:pic>
          <p:nvPicPr>
            <p:cNvPr id="42" name="41 Imagen" descr="Noruega.jp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002423" y="4060402"/>
              <a:ext cx="1248505" cy="801628"/>
            </a:xfrm>
            <a:prstGeom prst="rect">
              <a:avLst/>
            </a:prstGeom>
          </p:spPr>
        </p:pic>
        <p:pic>
          <p:nvPicPr>
            <p:cNvPr id="43" name="Picture 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15064" y="4133518"/>
              <a:ext cx="1182875" cy="7848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4" name="Picture 3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21717" y="4135014"/>
              <a:ext cx="1135973" cy="7030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5" name="44 Más"/>
            <p:cNvSpPr/>
            <p:nvPr/>
          </p:nvSpPr>
          <p:spPr>
            <a:xfrm>
              <a:off x="2706568" y="4054734"/>
              <a:ext cx="914400" cy="914400"/>
            </a:xfrm>
            <a:prstGeom prst="mathPlus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46" name="45 CuadroTexto"/>
            <p:cNvSpPr txBox="1"/>
            <p:nvPr/>
          </p:nvSpPr>
          <p:spPr>
            <a:xfrm>
              <a:off x="2266699" y="5352846"/>
              <a:ext cx="5079603" cy="740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2000" b="1" dirty="0" smtClean="0">
                  <a:latin typeface="Optane"/>
                </a:rPr>
                <a:t>NON EU EUROPEAN ECONOMIC AREA COUNTRIES </a:t>
              </a:r>
              <a:r>
                <a:rPr lang="zh-CN" altLang="es-ES" sz="2000" b="1" dirty="0" smtClean="0">
                  <a:latin typeface="Optane"/>
                </a:rPr>
                <a:t>非欧盟经济区国家</a:t>
              </a:r>
            </a:p>
          </p:txBody>
        </p:sp>
        <p:sp>
          <p:nvSpPr>
            <p:cNvPr id="47" name="46 CuadroTexto"/>
            <p:cNvSpPr txBox="1"/>
            <p:nvPr/>
          </p:nvSpPr>
          <p:spPr>
            <a:xfrm>
              <a:off x="936321" y="4792939"/>
              <a:ext cx="2312035" cy="7404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s-ES" sz="2000" b="1" dirty="0" smtClean="0">
                  <a:latin typeface="Optane"/>
                </a:rPr>
                <a:t>LIECHTENSTEIN</a:t>
              </a:r>
            </a:p>
            <a:p>
              <a:pPr algn="l"/>
              <a:r>
                <a:rPr lang="es-ES" sz="2000" b="1" dirty="0">
                  <a:latin typeface="Optane"/>
                </a:rPr>
                <a:t>列支敦斯登</a:t>
              </a:r>
            </a:p>
          </p:txBody>
        </p:sp>
        <p:sp>
          <p:nvSpPr>
            <p:cNvPr id="48" name="47 CuadroTexto"/>
            <p:cNvSpPr txBox="1"/>
            <p:nvPr/>
          </p:nvSpPr>
          <p:spPr>
            <a:xfrm>
              <a:off x="4323836" y="4901724"/>
              <a:ext cx="2062480" cy="435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2000" b="1" dirty="0" smtClean="0">
                  <a:latin typeface="Optane"/>
                </a:rPr>
                <a:t>ICELAND </a:t>
              </a:r>
              <a:r>
                <a:rPr lang="zh-CN" altLang="es-ES" sz="2000" b="1" dirty="0" smtClean="0">
                  <a:latin typeface="Optane"/>
                </a:rPr>
                <a:t>冰岛</a:t>
              </a:r>
            </a:p>
          </p:txBody>
        </p:sp>
        <p:sp>
          <p:nvSpPr>
            <p:cNvPr id="49" name="48 CuadroTexto"/>
            <p:cNvSpPr txBox="1"/>
            <p:nvPr/>
          </p:nvSpPr>
          <p:spPr>
            <a:xfrm>
              <a:off x="7112475" y="4860534"/>
              <a:ext cx="2022475" cy="435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2000" b="1" dirty="0" smtClean="0">
                  <a:latin typeface="Optane"/>
                </a:rPr>
                <a:t>NORWAY </a:t>
              </a:r>
              <a:r>
                <a:rPr lang="zh-CN" altLang="es-ES" sz="2000" b="1" dirty="0" smtClean="0">
                  <a:latin typeface="Optane"/>
                </a:rPr>
                <a:t>挪威</a:t>
              </a:r>
            </a:p>
          </p:txBody>
        </p:sp>
      </p:grpSp>
      <p:sp>
        <p:nvSpPr>
          <p:cNvPr id="50" name="49 Más"/>
          <p:cNvSpPr/>
          <p:nvPr/>
        </p:nvSpPr>
        <p:spPr>
          <a:xfrm>
            <a:off x="5817120" y="4197950"/>
            <a:ext cx="914400" cy="914400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/>
              <a:t>REGULATIONS (EU) nº 883/04 and nº 987/09</a:t>
            </a:r>
            <a:r>
              <a:rPr lang="es-ES" dirty="0" smtClean="0"/>
              <a:t>: PERSONAL SCOPE</a:t>
            </a:r>
            <a:br>
              <a:rPr lang="es-ES" dirty="0" smtClean="0"/>
            </a:br>
            <a:r>
              <a:rPr lang="en-US" alt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N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° 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883/2004 </a:t>
            </a:r>
            <a:r>
              <a:rPr lang="zh-CN" alt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和</a:t>
            </a:r>
            <a:r>
              <a:rPr lang="en-US" alt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N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° 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987/2009</a:t>
            </a:r>
            <a:r>
              <a:rPr lang="zh-CN" alt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规定：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适用个体</a:t>
            </a:r>
            <a:r>
              <a:rPr 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范围</a:t>
            </a:r>
            <a:r>
              <a:rPr lang="zh-CN" dirty="0"/>
              <a:t/>
            </a:r>
            <a:br>
              <a:rPr lang="zh-CN" dirty="0"/>
            </a:b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 sz="2000" b="1" dirty="0" smtClean="0"/>
              <a:t>Persons subjet to the legislation of (at least ) one </a:t>
            </a:r>
            <a:r>
              <a:rPr lang="es-ES" sz="2000" b="1" dirty="0"/>
              <a:t>M</a:t>
            </a:r>
            <a:r>
              <a:rPr lang="es-ES" sz="2000" b="1" dirty="0" smtClean="0"/>
              <a:t>ember state and who are:</a:t>
            </a:r>
          </a:p>
          <a:p>
            <a:r>
              <a:rPr lang="zh-CN" altLang="en-US" sz="2000" b="1" dirty="0" smtClean="0"/>
              <a:t>（至少）由一个成员国法律管辖的个人以及：</a:t>
            </a:r>
            <a:endParaRPr lang="es-ES" sz="2000" b="1" dirty="0" smtClean="0"/>
          </a:p>
          <a:p>
            <a:pPr marL="0" indent="0">
              <a:buNone/>
            </a:pPr>
            <a:endParaRPr lang="es-ES" dirty="0"/>
          </a:p>
        </p:txBody>
      </p:sp>
      <p:graphicFrame>
        <p:nvGraphicFramePr>
          <p:cNvPr id="4" name="3 Diagrama"/>
          <p:cNvGraphicFramePr/>
          <p:nvPr>
            <p:extLst>
              <p:ext uri="{D42A27DB-BD31-4B8C-83A1-F6EECF244321}">
                <p14:modId xmlns:p14="http://schemas.microsoft.com/office/powerpoint/2010/main" val="3273011467"/>
              </p:ext>
            </p:extLst>
          </p:nvPr>
        </p:nvGraphicFramePr>
        <p:xfrm>
          <a:off x="344360" y="1916790"/>
          <a:ext cx="9001250" cy="47526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4 Imagen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440" y="3933069"/>
            <a:ext cx="2219325" cy="2066925"/>
          </a:xfrm>
          <a:prstGeom prst="rect">
            <a:avLst/>
          </a:prstGeom>
        </p:spPr>
      </p:pic>
      <p:pic>
        <p:nvPicPr>
          <p:cNvPr id="6" name="5 Imagen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7270" y="3924299"/>
            <a:ext cx="2219325" cy="2066925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/>
              <a:t>REGULATIONS (EU) </a:t>
            </a:r>
            <a:r>
              <a:rPr lang="es-ES" dirty="0" smtClean="0"/>
              <a:t>nº 883/04 </a:t>
            </a:r>
            <a:r>
              <a:rPr lang="es-ES" dirty="0"/>
              <a:t>and nº 987/09: </a:t>
            </a:r>
            <a:r>
              <a:rPr lang="es-ES" dirty="0" smtClean="0"/>
              <a:t>MATERIAL SCOPE (1)</a:t>
            </a:r>
            <a:br>
              <a:rPr lang="es-ES" dirty="0" smtClean="0"/>
            </a:br>
            <a:r>
              <a:rPr lang="es-ES" altLang="zh-CN" dirty="0"/>
              <a:t>nº 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 </a:t>
            </a:r>
            <a:r>
              <a:rPr lang="it-IT" altLang="zh-CN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883/2004 </a:t>
            </a:r>
            <a:r>
              <a:rPr lang="zh-CN" alt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和</a:t>
            </a:r>
            <a:r>
              <a:rPr lang="es-ES" altLang="zh-CN" dirty="0" smtClean="0"/>
              <a:t>nº 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 </a:t>
            </a:r>
            <a:r>
              <a:rPr lang="it-IT" altLang="zh-CN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987/2009</a:t>
            </a:r>
            <a:r>
              <a:rPr lang="zh-CN" alt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规定</a:t>
            </a:r>
            <a:r>
              <a:rPr lang="zh-CN" alt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：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适用个体</a:t>
            </a:r>
            <a:r>
              <a:rPr lang="zh-CN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范围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00340" y="1052670"/>
            <a:ext cx="7770160" cy="4896680"/>
          </a:xfrm>
        </p:spPr>
        <p:txBody>
          <a:bodyPr>
            <a:no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s-ES" sz="2400" b="1" u="sng" dirty="0" smtClean="0"/>
              <a:t>BENEFITS INCLUDED (ART. 3):</a:t>
            </a:r>
            <a:r>
              <a:rPr lang="zh-CN" altLang="en-US" sz="2400" b="1" u="sng" dirty="0"/>
              <a:t>福利包括（第</a:t>
            </a:r>
            <a:r>
              <a:rPr lang="en-US" altLang="zh-CN" sz="2400" b="1" u="sng" dirty="0"/>
              <a:t>3</a:t>
            </a:r>
            <a:r>
              <a:rPr lang="zh-CN" altLang="en-US" sz="2400" b="1" u="sng" dirty="0"/>
              <a:t>条）</a:t>
            </a:r>
            <a:endParaRPr lang="es-ES" sz="2400" b="1" u="sng" dirty="0" smtClean="0"/>
          </a:p>
          <a:p>
            <a:pPr lvl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ü"/>
            </a:pPr>
            <a:r>
              <a:rPr lang="es-ES" sz="2400" b="1" dirty="0" smtClean="0"/>
              <a:t>Sickness </a:t>
            </a:r>
            <a:r>
              <a:rPr lang="zh-CN" altLang="en-US" sz="2400" b="1" dirty="0" smtClean="0"/>
              <a:t>疾病</a:t>
            </a:r>
            <a:endParaRPr lang="es-ES" sz="2400" b="1" dirty="0"/>
          </a:p>
          <a:p>
            <a:pPr lvl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ü"/>
            </a:pPr>
            <a:r>
              <a:rPr lang="en-US" sz="2400" b="1" dirty="0" smtClean="0"/>
              <a:t>Maternity / paternity </a:t>
            </a:r>
            <a:r>
              <a:rPr lang="zh-CN" altLang="en-US" sz="2400" b="1" dirty="0" smtClean="0"/>
              <a:t>产假</a:t>
            </a:r>
            <a:endParaRPr lang="en-US" altLang="zh-CN" sz="2400" b="1" dirty="0" smtClean="0"/>
          </a:p>
          <a:p>
            <a:pPr lvl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ü"/>
            </a:pPr>
            <a:r>
              <a:rPr lang="es-ES" sz="2400" b="1" dirty="0" smtClean="0"/>
              <a:t>Invalidity</a:t>
            </a:r>
            <a:r>
              <a:rPr lang="zh-CN" altLang="en-US" sz="2400" b="1" dirty="0"/>
              <a:t>无效</a:t>
            </a:r>
            <a:endParaRPr lang="es-ES" sz="2400" b="1" dirty="0" smtClean="0"/>
          </a:p>
          <a:p>
            <a:pPr lvl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ü"/>
            </a:pPr>
            <a:r>
              <a:rPr lang="es-ES" sz="2400" b="1" dirty="0" smtClean="0"/>
              <a:t>Old-age  </a:t>
            </a:r>
            <a:r>
              <a:rPr lang="zh-CN" altLang="en-US" sz="2400" b="1" dirty="0" smtClean="0"/>
              <a:t>养老</a:t>
            </a:r>
            <a:r>
              <a:rPr lang="es-ES" sz="2400" b="1" dirty="0" smtClean="0"/>
              <a:t>   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ü"/>
            </a:pPr>
            <a:r>
              <a:rPr lang="es-ES" sz="2400" b="1" dirty="0" err="1" smtClean="0"/>
              <a:t>Survivors</a:t>
            </a:r>
            <a:r>
              <a:rPr lang="zh-CN" altLang="en-US" sz="2400" b="1" dirty="0" smtClean="0"/>
              <a:t> 遗属</a:t>
            </a:r>
            <a:endParaRPr lang="en-US" altLang="zh-CN" sz="2400" b="1" dirty="0" smtClean="0"/>
          </a:p>
          <a:p>
            <a:pPr lvl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ü"/>
            </a:pPr>
            <a:r>
              <a:rPr lang="en-US" sz="2400" b="1" dirty="0" smtClean="0"/>
              <a:t>Accidents </a:t>
            </a:r>
            <a:r>
              <a:rPr lang="en-US" sz="2400" b="1" dirty="0"/>
              <a:t>at </a:t>
            </a:r>
            <a:r>
              <a:rPr lang="en-US" sz="2400" b="1" dirty="0" smtClean="0"/>
              <a:t>work/occupational diseases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ü"/>
            </a:pPr>
            <a:r>
              <a:rPr lang="zh-CN" altLang="en-US" sz="2400" b="1" dirty="0" smtClean="0"/>
              <a:t>工伤</a:t>
            </a:r>
            <a:r>
              <a:rPr lang="en-US" altLang="zh-CN" sz="2400" b="1" dirty="0" smtClean="0"/>
              <a:t>/</a:t>
            </a:r>
            <a:r>
              <a:rPr lang="zh-CN" altLang="en-US" sz="2400" b="1" dirty="0" smtClean="0"/>
              <a:t>职业病</a:t>
            </a:r>
            <a:endParaRPr lang="en-US" altLang="zh-CN" sz="2400" b="1" dirty="0"/>
          </a:p>
          <a:p>
            <a:pPr lvl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ü"/>
            </a:pPr>
            <a:r>
              <a:rPr lang="es-ES" sz="2400" b="1" dirty="0" err="1" smtClean="0"/>
              <a:t>Death</a:t>
            </a:r>
            <a:r>
              <a:rPr lang="es-ES" sz="2400" b="1" dirty="0" smtClean="0"/>
              <a:t> grants;</a:t>
            </a:r>
            <a:r>
              <a:rPr lang="zh-CN" altLang="en-US" sz="2400" b="1" dirty="0"/>
              <a:t>丧葬补助金</a:t>
            </a:r>
            <a:r>
              <a:rPr lang="es-ES" sz="2400" b="1" dirty="0" smtClean="0"/>
              <a:t>			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ü"/>
            </a:pPr>
            <a:r>
              <a:rPr lang="es-ES" sz="2400" b="1" dirty="0" smtClean="0"/>
              <a:t>Unemployment </a:t>
            </a:r>
            <a:r>
              <a:rPr lang="zh-CN" altLang="en-US" sz="2400" b="1" dirty="0"/>
              <a:t>失业</a:t>
            </a:r>
            <a:endParaRPr lang="es-ES" sz="2400" b="1" dirty="0" smtClean="0"/>
          </a:p>
          <a:p>
            <a:pPr lvl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ü"/>
            </a:pPr>
            <a:r>
              <a:rPr lang="es-ES" sz="2400" b="1" dirty="0"/>
              <a:t>P</a:t>
            </a:r>
            <a:r>
              <a:rPr lang="es-ES" sz="2400" b="1" dirty="0" smtClean="0"/>
              <a:t>re-retirement </a:t>
            </a:r>
            <a:r>
              <a:rPr lang="zh-CN" altLang="en-US" sz="2400" b="1" dirty="0" smtClean="0"/>
              <a:t>提前退休</a:t>
            </a:r>
            <a:endParaRPr lang="es-ES" sz="2400" b="1" dirty="0" smtClean="0"/>
          </a:p>
          <a:p>
            <a:pPr lvl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ü"/>
            </a:pPr>
            <a:r>
              <a:rPr lang="es-ES" sz="2400" b="1" dirty="0"/>
              <a:t>F</a:t>
            </a:r>
            <a:r>
              <a:rPr lang="es-ES" sz="2400" b="1" dirty="0" smtClean="0"/>
              <a:t>amily </a:t>
            </a:r>
            <a:r>
              <a:rPr lang="es-ES" sz="2400" b="1" dirty="0"/>
              <a:t>benefits</a:t>
            </a:r>
            <a:r>
              <a:rPr lang="es-ES" sz="2400" b="1" dirty="0" smtClean="0"/>
              <a:t>. </a:t>
            </a:r>
            <a:r>
              <a:rPr lang="zh-CN" altLang="en-US" sz="2400" b="1" dirty="0" smtClean="0"/>
              <a:t>家庭福利</a:t>
            </a:r>
            <a:endParaRPr lang="es-ES" sz="2400" b="1" dirty="0"/>
          </a:p>
        </p:txBody>
      </p:sp>
      <p:sp>
        <p:nvSpPr>
          <p:cNvPr id="4" name="3 Llaves"/>
          <p:cNvSpPr/>
          <p:nvPr/>
        </p:nvSpPr>
        <p:spPr>
          <a:xfrm>
            <a:off x="56320" y="1772770"/>
            <a:ext cx="7545360" cy="4536630"/>
          </a:xfrm>
          <a:prstGeom prst="bracePair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 sz="1600"/>
          </a:p>
        </p:txBody>
      </p:sp>
      <p:sp>
        <p:nvSpPr>
          <p:cNvPr id="6" name="5 Cerrar llave"/>
          <p:cNvSpPr/>
          <p:nvPr/>
        </p:nvSpPr>
        <p:spPr>
          <a:xfrm>
            <a:off x="4664960" y="1772770"/>
            <a:ext cx="72010" cy="180025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文本框 4"/>
          <p:cNvSpPr txBox="1"/>
          <p:nvPr/>
        </p:nvSpPr>
        <p:spPr>
          <a:xfrm>
            <a:off x="4880990" y="2276840"/>
            <a:ext cx="165623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es-ES" altLang="zh-CN" sz="2000" b="1" dirty="0"/>
              <a:t>= </a:t>
            </a:r>
            <a:r>
              <a:rPr lang="es-ES" altLang="zh-CN" sz="2000" b="1" dirty="0" err="1"/>
              <a:t>Pensions</a:t>
            </a:r>
            <a:r>
              <a:rPr lang="es-ES" altLang="zh-CN" sz="2000" b="1" dirty="0"/>
              <a:t> </a:t>
            </a:r>
            <a:endParaRPr lang="es-ES" altLang="zh-CN" sz="2000" b="1" dirty="0" smtClean="0"/>
          </a:p>
          <a:p>
            <a:pPr marL="0" lvl="1"/>
            <a:r>
              <a:rPr lang="zh-CN" altLang="en-US" sz="2000" b="1" dirty="0" smtClean="0"/>
              <a:t>   养老金</a:t>
            </a:r>
            <a:endParaRPr lang="es-ES" altLang="zh-CN" sz="2000" b="1" dirty="0"/>
          </a:p>
        </p:txBody>
      </p:sp>
      <p:sp>
        <p:nvSpPr>
          <p:cNvPr id="7" name="文本框 6"/>
          <p:cNvSpPr txBox="1"/>
          <p:nvPr/>
        </p:nvSpPr>
        <p:spPr>
          <a:xfrm>
            <a:off x="7689380" y="3284980"/>
            <a:ext cx="201628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2000" b="1" dirty="0" smtClean="0"/>
              <a:t>Contributory</a:t>
            </a:r>
            <a:r>
              <a:rPr kumimoji="1" lang="zh-CN" altLang="en-US" sz="2000" b="1" dirty="0" smtClean="0"/>
              <a:t> </a:t>
            </a:r>
            <a:r>
              <a:rPr kumimoji="1" lang="en-US" altLang="zh-CN" sz="2000" b="1" dirty="0" smtClean="0"/>
              <a:t>and</a:t>
            </a:r>
            <a:r>
              <a:rPr kumimoji="1" lang="zh-CN" altLang="en-US" sz="2000" b="1" dirty="0" smtClean="0"/>
              <a:t> </a:t>
            </a:r>
            <a:r>
              <a:rPr kumimoji="1" lang="en-US" altLang="zh-CN" sz="2000" b="1" dirty="0" smtClean="0"/>
              <a:t>non</a:t>
            </a:r>
            <a:r>
              <a:rPr kumimoji="1" lang="zh-CN" altLang="en-US" sz="2000" b="1" dirty="0" smtClean="0"/>
              <a:t> </a:t>
            </a:r>
            <a:r>
              <a:rPr kumimoji="1" lang="en-US" altLang="zh-CN" sz="2000" b="1" dirty="0" smtClean="0"/>
              <a:t>Contributory</a:t>
            </a:r>
          </a:p>
          <a:p>
            <a:r>
              <a:rPr kumimoji="1" lang="zh-CN" altLang="en-US" sz="2000" b="1" dirty="0" smtClean="0"/>
              <a:t>缴费型与</a:t>
            </a:r>
            <a:endParaRPr kumimoji="1" lang="en-US" altLang="zh-CN" sz="2000" b="1" dirty="0" smtClean="0"/>
          </a:p>
          <a:p>
            <a:r>
              <a:rPr kumimoji="1" lang="zh-CN" altLang="en-US" sz="2000" b="1" dirty="0" smtClean="0"/>
              <a:t>非缴费型</a:t>
            </a:r>
            <a:endParaRPr kumimoji="1" lang="en-US" altLang="zh-CN" sz="2000" b="1" dirty="0" smtClean="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/>
              <a:t>REGULATIONS (EU) nº 883/04 and nº 987/09: MATERIAL SCOPE </a:t>
            </a:r>
            <a:r>
              <a:rPr lang="es-ES" dirty="0" smtClean="0"/>
              <a:t>(2)</a:t>
            </a:r>
            <a:br>
              <a:rPr lang="es-ES" dirty="0" smtClean="0"/>
            </a:br>
            <a:r>
              <a:rPr lang="es-ES" altLang="zh-CN" dirty="0"/>
              <a:t>nº 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 </a:t>
            </a:r>
            <a:r>
              <a:rPr lang="it-IT" altLang="zh-CN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883/2004 </a:t>
            </a:r>
            <a:r>
              <a:rPr lang="zh-CN" alt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和</a:t>
            </a:r>
            <a:r>
              <a:rPr lang="es-ES" altLang="zh-CN" dirty="0"/>
              <a:t>nº 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 </a:t>
            </a:r>
            <a:r>
              <a:rPr lang="it-IT" altLang="zh-CN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987/2009</a:t>
            </a:r>
            <a:r>
              <a:rPr lang="zh-CN" alt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规定</a:t>
            </a:r>
            <a:r>
              <a:rPr lang="zh-CN" alt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：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适用个体</a:t>
            </a:r>
            <a:r>
              <a:rPr lang="zh-CN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范围</a:t>
            </a:r>
            <a:r>
              <a:rPr lang="en-US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 </a:t>
            </a:r>
            <a:r>
              <a:rPr lang="es-ES" altLang="zh-CN" dirty="0"/>
              <a:t>(2)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s-ES" sz="2000" b="1" u="sng" dirty="0" smtClean="0"/>
              <a:t>BENEFITS EXCLUDED (ART. 3.5):</a:t>
            </a:r>
            <a:r>
              <a:rPr lang="zh-CN" altLang="en-US" sz="2000" b="1" u="sng" dirty="0" smtClean="0"/>
              <a:t>福利不包括</a:t>
            </a:r>
            <a:r>
              <a:rPr lang="zh-CN" altLang="en-US" sz="2000" b="1" u="sng" dirty="0"/>
              <a:t>（第</a:t>
            </a:r>
            <a:r>
              <a:rPr lang="en-US" altLang="zh-CN" sz="2000" b="1" u="sng" dirty="0" smtClean="0"/>
              <a:t>3.5</a:t>
            </a:r>
            <a:r>
              <a:rPr lang="zh-CN" altLang="en-US" sz="2000" b="1" u="sng" dirty="0" smtClean="0"/>
              <a:t>条）</a:t>
            </a:r>
            <a:endParaRPr lang="es-ES" altLang="zh-CN" sz="2000" b="1" u="sng" dirty="0"/>
          </a:p>
        </p:txBody>
      </p:sp>
      <p:graphicFrame>
        <p:nvGraphicFramePr>
          <p:cNvPr id="5" name="4 Diagrama"/>
          <p:cNvGraphicFramePr/>
          <p:nvPr>
            <p:extLst>
              <p:ext uri="{D42A27DB-BD31-4B8C-83A1-F6EECF244321}">
                <p14:modId xmlns:p14="http://schemas.microsoft.com/office/powerpoint/2010/main" val="1127248955"/>
              </p:ext>
            </p:extLst>
          </p:nvPr>
        </p:nvGraphicFramePr>
        <p:xfrm>
          <a:off x="488380" y="1556740"/>
          <a:ext cx="9145270" cy="46496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/>
              <a:t>REGULATIONS (EU) nº 883/04 and nº 987/09</a:t>
            </a:r>
            <a:r>
              <a:rPr lang="es-ES" dirty="0" smtClean="0"/>
              <a:t>: APPLICABLE LEGISLATION</a:t>
            </a:r>
            <a:br>
              <a:rPr lang="es-ES" dirty="0" smtClean="0"/>
            </a:br>
            <a:r>
              <a:rPr lang="es-ES" altLang="zh-CN" dirty="0"/>
              <a:t>nº 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 </a:t>
            </a:r>
            <a:r>
              <a:rPr lang="it-IT" altLang="zh-CN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883/2004 </a:t>
            </a:r>
            <a:r>
              <a:rPr lang="zh-CN" alt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和</a:t>
            </a:r>
            <a:r>
              <a:rPr lang="es-ES" altLang="zh-CN" dirty="0"/>
              <a:t>nº 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 </a:t>
            </a:r>
            <a:r>
              <a:rPr lang="it-IT" altLang="zh-CN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987/2009</a:t>
            </a:r>
            <a:r>
              <a:rPr lang="zh-CN" alt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规定</a:t>
            </a:r>
            <a:r>
              <a:rPr lang="zh-CN" alt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：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适用法律</a:t>
            </a:r>
            <a:endParaRPr lang="es-ES" dirty="0"/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65171128"/>
              </p:ext>
            </p:extLst>
          </p:nvPr>
        </p:nvGraphicFramePr>
        <p:xfrm>
          <a:off x="563850" y="1862350"/>
          <a:ext cx="8778300" cy="43533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4 Rectángulo redondeado"/>
          <p:cNvSpPr/>
          <p:nvPr/>
        </p:nvSpPr>
        <p:spPr>
          <a:xfrm>
            <a:off x="416370" y="914950"/>
            <a:ext cx="9073260" cy="713800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>
                <a:solidFill>
                  <a:schemeClr val="tx1"/>
                </a:solidFill>
              </a:rPr>
              <a:t>GENERAL RULE = LEX LOCI LABORIS</a:t>
            </a:r>
          </a:p>
          <a:p>
            <a:pPr algn="ctr"/>
            <a:r>
              <a:rPr lang="zh-CN" altLang="en-US" b="1" dirty="0" smtClean="0">
                <a:solidFill>
                  <a:schemeClr val="tx1"/>
                </a:solidFill>
              </a:rPr>
              <a:t>总规则</a:t>
            </a:r>
            <a:r>
              <a:rPr lang="en-US" altLang="zh-CN" b="1" dirty="0" smtClean="0">
                <a:solidFill>
                  <a:schemeClr val="tx1"/>
                </a:solidFill>
              </a:rPr>
              <a:t>=《</a:t>
            </a:r>
            <a:r>
              <a:rPr lang="zh-CN" altLang="en-US" b="1" dirty="0" smtClean="0">
                <a:solidFill>
                  <a:schemeClr val="tx1"/>
                </a:solidFill>
              </a:rPr>
              <a:t>劳工法</a:t>
            </a:r>
            <a:r>
              <a:rPr lang="en-US" altLang="zh-CN" b="1" dirty="0" smtClean="0">
                <a:solidFill>
                  <a:schemeClr val="tx1"/>
                </a:solidFill>
              </a:rPr>
              <a:t>》 </a:t>
            </a:r>
            <a:endParaRPr lang="es-ES" b="1" dirty="0">
              <a:solidFill>
                <a:srgbClr val="FF0000"/>
              </a:solidFill>
            </a:endParaRPr>
          </a:p>
        </p:txBody>
      </p:sp>
      <p:sp>
        <p:nvSpPr>
          <p:cNvPr id="7" name="6 Flecha derecha"/>
          <p:cNvSpPr/>
          <p:nvPr/>
        </p:nvSpPr>
        <p:spPr>
          <a:xfrm>
            <a:off x="223010" y="3573020"/>
            <a:ext cx="792110" cy="864120"/>
          </a:xfrm>
          <a:prstGeom prst="right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715203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8713" y="3409950"/>
            <a:ext cx="28575" cy="38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5205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2949" y="1014520"/>
            <a:ext cx="455276" cy="514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lvl="0"/>
            <a:r>
              <a:rPr lang="es-ES" dirty="0"/>
              <a:t>REGULATIONS (EU) nº 883/04 and nº 987/09: </a:t>
            </a:r>
            <a:r>
              <a:rPr lang="es-ES" dirty="0" smtClean="0"/>
              <a:t>Special provisions: SICKNESS BENEFITS</a:t>
            </a:r>
            <a:br>
              <a:rPr lang="es-ES" dirty="0" smtClean="0"/>
            </a:br>
            <a:r>
              <a:rPr lang="es-ES" altLang="zh-CN" dirty="0" smtClean="0"/>
              <a:t>nº 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 </a:t>
            </a:r>
            <a:r>
              <a:rPr lang="it-IT" altLang="zh-CN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883/2004 </a:t>
            </a:r>
            <a:r>
              <a:rPr lang="zh-CN" alt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和</a:t>
            </a:r>
            <a:r>
              <a:rPr lang="es-ES" altLang="zh-CN" dirty="0"/>
              <a:t>nº 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 </a:t>
            </a:r>
            <a:r>
              <a:rPr lang="it-IT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987/2009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（</a:t>
            </a:r>
            <a:r>
              <a:rPr lang="zh-CN" altLang="en-US" dirty="0"/>
              <a:t>欧盟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）</a:t>
            </a:r>
            <a:r>
              <a:rPr lang="zh-CN" alt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规定：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特别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条款：疾病补助费</a:t>
            </a:r>
            <a:endParaRPr lang="es-ES" dirty="0"/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00161199"/>
              </p:ext>
            </p:extLst>
          </p:nvPr>
        </p:nvGraphicFramePr>
        <p:xfrm>
          <a:off x="377750" y="2132820"/>
          <a:ext cx="4570020" cy="41765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3 Marcador de contenido"/>
          <p:cNvGraphicFramePr/>
          <p:nvPr>
            <p:extLst>
              <p:ext uri="{D42A27DB-BD31-4B8C-83A1-F6EECF244321}">
                <p14:modId xmlns:p14="http://schemas.microsoft.com/office/powerpoint/2010/main" val="413653452"/>
              </p:ext>
            </p:extLst>
          </p:nvPr>
        </p:nvGraphicFramePr>
        <p:xfrm>
          <a:off x="5097020" y="2132820"/>
          <a:ext cx="4464620" cy="41765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6" name="5 Rectángulo redondeado"/>
          <p:cNvSpPr/>
          <p:nvPr/>
        </p:nvSpPr>
        <p:spPr>
          <a:xfrm>
            <a:off x="377750" y="908650"/>
            <a:ext cx="9073260" cy="1008140"/>
          </a:xfrm>
          <a:prstGeom prst="roundRect">
            <a:avLst/>
          </a:prstGeom>
          <a:solidFill>
            <a:srgbClr val="1FF51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800" b="1" dirty="0" smtClean="0">
                <a:solidFill>
                  <a:schemeClr val="tx1"/>
                </a:solidFill>
                <a:latin typeface="Optane"/>
              </a:rPr>
              <a:t>SICKNESS BENEFITS</a:t>
            </a:r>
          </a:p>
          <a:p>
            <a:pPr algn="ctr"/>
            <a:r>
              <a:rPr lang="zh-CN" altLang="en-US" sz="2800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疾病补助费</a:t>
            </a:r>
            <a:endParaRPr lang="es-ES" sz="2800" b="1" dirty="0">
              <a:solidFill>
                <a:schemeClr val="tx1"/>
              </a:solidFill>
              <a:latin typeface="Optane"/>
            </a:endParaRPr>
          </a:p>
        </p:txBody>
      </p:sp>
      <p:pic>
        <p:nvPicPr>
          <p:cNvPr id="1716227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9380" y="1011915"/>
            <a:ext cx="971550" cy="828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6 Rectángulo redondeado"/>
          <p:cNvSpPr/>
          <p:nvPr/>
        </p:nvSpPr>
        <p:spPr>
          <a:xfrm>
            <a:off x="7428307" y="4825515"/>
            <a:ext cx="2088290" cy="98641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716228" name="Picture 4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6770" y="4999106"/>
            <a:ext cx="759500" cy="68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6229" name="Picture 5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539" y="4922593"/>
            <a:ext cx="536575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6231" name="Picture 7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7069" y="4838321"/>
            <a:ext cx="1584451" cy="10286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9 Flecha derecha"/>
          <p:cNvSpPr/>
          <p:nvPr/>
        </p:nvSpPr>
        <p:spPr>
          <a:xfrm>
            <a:off x="8406865" y="5241889"/>
            <a:ext cx="284645" cy="29281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716233" name="Picture 9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0840" y="3365412"/>
            <a:ext cx="864120" cy="654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6234" name="Picture 10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4110" y="4719429"/>
            <a:ext cx="697577" cy="690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10 Más"/>
          <p:cNvSpPr/>
          <p:nvPr/>
        </p:nvSpPr>
        <p:spPr>
          <a:xfrm>
            <a:off x="3980807" y="4152616"/>
            <a:ext cx="504185" cy="453932"/>
          </a:xfrm>
          <a:prstGeom prst="mathPlus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2" name="11 CuadroTexto"/>
          <p:cNvSpPr txBox="1"/>
          <p:nvPr/>
        </p:nvSpPr>
        <p:spPr>
          <a:xfrm>
            <a:off x="2144610" y="3503889"/>
            <a:ext cx="1440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 smtClean="0">
                <a:solidFill>
                  <a:srgbClr val="FFFFFF"/>
                </a:solidFill>
                <a:latin typeface="Optane"/>
              </a:rPr>
              <a:t>Portugal</a:t>
            </a:r>
          </a:p>
          <a:p>
            <a:r>
              <a:rPr lang="zh-CN" altLang="en-US" sz="2400" dirty="0">
                <a:solidFill>
                  <a:srgbClr val="FFFFFF"/>
                </a:solidFill>
                <a:latin typeface="Optane"/>
              </a:rPr>
              <a:t>葡萄牙</a:t>
            </a:r>
            <a:endParaRPr lang="es-ES" sz="2400" dirty="0">
              <a:solidFill>
                <a:srgbClr val="FFFFFF"/>
              </a:solidFill>
              <a:latin typeface="Optane"/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2144610" y="5434092"/>
            <a:ext cx="266437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00" dirty="0">
                <a:latin typeface="Optane"/>
              </a:rPr>
              <a:t> </a:t>
            </a:r>
            <a:r>
              <a:rPr lang="es-ES" sz="1400" dirty="0" smtClean="0">
                <a:latin typeface="Optane"/>
              </a:rPr>
              <a:t> MS of </a:t>
            </a:r>
            <a:r>
              <a:rPr lang="es-ES" sz="1400" dirty="0" err="1" smtClean="0">
                <a:latin typeface="Optane"/>
              </a:rPr>
              <a:t>residence</a:t>
            </a:r>
            <a:endParaRPr lang="es-ES" sz="1400" dirty="0" smtClean="0">
              <a:latin typeface="Optane"/>
            </a:endParaRPr>
          </a:p>
          <a:p>
            <a:pPr algn="ctr"/>
            <a:r>
              <a:rPr lang="zh-CN" altLang="en-US" sz="1400" dirty="0" smtClean="0">
                <a:latin typeface="Optane"/>
              </a:rPr>
              <a:t>所居住的成员国</a:t>
            </a:r>
            <a:endParaRPr lang="es-ES" sz="1400" dirty="0">
              <a:latin typeface="Optane"/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1104540" y="3492709"/>
            <a:ext cx="10567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000" dirty="0" smtClean="0">
                <a:latin typeface="Optane"/>
              </a:rPr>
              <a:t>Norway</a:t>
            </a:r>
          </a:p>
          <a:p>
            <a:r>
              <a:rPr lang="zh-CN" altLang="en-US" sz="2000" dirty="0">
                <a:latin typeface="Optane"/>
              </a:rPr>
              <a:t>挪威</a:t>
            </a:r>
            <a:endParaRPr lang="es-ES" sz="2000" dirty="0">
              <a:latin typeface="Optane"/>
            </a:endParaRPr>
          </a:p>
        </p:txBody>
      </p:sp>
      <p:pic>
        <p:nvPicPr>
          <p:cNvPr id="1716235" name="Picture 11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9094" y="4580769"/>
            <a:ext cx="509431" cy="560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17 CuadroTexto"/>
          <p:cNvSpPr txBox="1"/>
          <p:nvPr/>
        </p:nvSpPr>
        <p:spPr>
          <a:xfrm>
            <a:off x="493957" y="5279273"/>
            <a:ext cx="1553129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600" dirty="0" err="1" smtClean="0">
                <a:latin typeface="Optane"/>
              </a:rPr>
              <a:t>Competent</a:t>
            </a:r>
            <a:r>
              <a:rPr lang="es-ES" sz="1600" dirty="0" smtClean="0">
                <a:latin typeface="Optane"/>
              </a:rPr>
              <a:t> MS</a:t>
            </a:r>
          </a:p>
          <a:p>
            <a:r>
              <a:rPr lang="zh-CN" altLang="en-US" sz="1600" dirty="0" smtClean="0">
                <a:latin typeface="Optane"/>
              </a:rPr>
              <a:t>负责成员国</a:t>
            </a:r>
            <a:endParaRPr lang="es-ES" sz="1600" dirty="0">
              <a:latin typeface="Optane"/>
            </a:endParaRPr>
          </a:p>
        </p:txBody>
      </p:sp>
      <p:sp>
        <p:nvSpPr>
          <p:cNvPr id="19" name="18 CuadroTexto"/>
          <p:cNvSpPr txBox="1"/>
          <p:nvPr/>
        </p:nvSpPr>
        <p:spPr>
          <a:xfrm>
            <a:off x="375150" y="5905176"/>
            <a:ext cx="4562550" cy="1015663"/>
          </a:xfrm>
          <a:prstGeom prst="rect">
            <a:avLst/>
          </a:prstGeom>
          <a:solidFill>
            <a:srgbClr val="E39913"/>
          </a:solidFill>
        </p:spPr>
        <p:txBody>
          <a:bodyPr wrap="square" rtlCol="0">
            <a:spAutoFit/>
          </a:bodyPr>
          <a:lstStyle/>
          <a:p>
            <a:r>
              <a:rPr lang="es-ES" sz="2000" dirty="0" smtClean="0">
                <a:latin typeface="Optane"/>
              </a:rPr>
              <a:t>Insured / pensioners + Family members </a:t>
            </a:r>
            <a:r>
              <a:rPr lang="zh-CN" altLang="en-US" sz="2000" dirty="0" smtClean="0">
                <a:latin typeface="Optane"/>
              </a:rPr>
              <a:t>被保险人</a:t>
            </a:r>
            <a:r>
              <a:rPr lang="en-US" altLang="zh-CN" sz="2000" dirty="0" smtClean="0">
                <a:latin typeface="Optane"/>
              </a:rPr>
              <a:t>/</a:t>
            </a:r>
            <a:r>
              <a:rPr lang="zh-CN" altLang="en-US" sz="2000" dirty="0" smtClean="0">
                <a:latin typeface="Optane"/>
              </a:rPr>
              <a:t>养老金领取人</a:t>
            </a:r>
            <a:r>
              <a:rPr lang="en-US" altLang="zh-CN" sz="2000" dirty="0" smtClean="0">
                <a:latin typeface="Optane"/>
              </a:rPr>
              <a:t>+</a:t>
            </a:r>
            <a:r>
              <a:rPr lang="zh-CN" altLang="en-US" sz="2000" dirty="0" smtClean="0">
                <a:latin typeface="Optane"/>
              </a:rPr>
              <a:t>家庭成员</a:t>
            </a:r>
            <a:endParaRPr lang="es-ES" sz="2000" dirty="0">
              <a:latin typeface="Optane"/>
            </a:endParaRPr>
          </a:p>
        </p:txBody>
      </p:sp>
      <p:sp>
        <p:nvSpPr>
          <p:cNvPr id="20" name="19 CuadroTexto"/>
          <p:cNvSpPr txBox="1"/>
          <p:nvPr/>
        </p:nvSpPr>
        <p:spPr>
          <a:xfrm>
            <a:off x="5097020" y="5937038"/>
            <a:ext cx="4464620" cy="1015663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es-ES" sz="2000" dirty="0" smtClean="0">
                <a:latin typeface="Optane"/>
              </a:rPr>
              <a:t>Insured / pensioners + Familiy members</a:t>
            </a:r>
          </a:p>
          <a:p>
            <a:r>
              <a:rPr lang="zh-CN" altLang="en-US" sz="2000" dirty="0">
                <a:latin typeface="Optane"/>
              </a:rPr>
              <a:t>被保险人</a:t>
            </a:r>
            <a:r>
              <a:rPr lang="en-US" altLang="zh-CN" sz="2000" dirty="0">
                <a:latin typeface="Optane"/>
              </a:rPr>
              <a:t>/</a:t>
            </a:r>
            <a:r>
              <a:rPr lang="zh-CN" altLang="en-US" sz="2000" dirty="0">
                <a:latin typeface="Optane"/>
              </a:rPr>
              <a:t>养老金领取人</a:t>
            </a:r>
            <a:r>
              <a:rPr lang="en-US" altLang="zh-CN" sz="2000" dirty="0">
                <a:latin typeface="Optane"/>
              </a:rPr>
              <a:t>+</a:t>
            </a:r>
            <a:r>
              <a:rPr lang="zh-CN" altLang="en-US" sz="2000" dirty="0">
                <a:latin typeface="Optane"/>
              </a:rPr>
              <a:t>家庭</a:t>
            </a:r>
            <a:r>
              <a:rPr lang="zh-CN" altLang="en-US" sz="2000" dirty="0" smtClean="0">
                <a:latin typeface="Optane"/>
              </a:rPr>
              <a:t>成员</a:t>
            </a:r>
            <a:endParaRPr lang="es-ES" altLang="zh-CN" sz="2000" dirty="0">
              <a:latin typeface="Optane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/>
              <a:t>REGULATIONS (EU) nº 883/04 and nº 987/09: Special provisions</a:t>
            </a:r>
            <a:r>
              <a:rPr lang="es-ES" dirty="0" smtClean="0"/>
              <a:t>: PENSIONS</a:t>
            </a:r>
            <a:br>
              <a:rPr lang="es-ES" dirty="0" smtClean="0"/>
            </a:br>
            <a:r>
              <a:rPr lang="es-ES" altLang="zh-CN" dirty="0"/>
              <a:t>nº 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 </a:t>
            </a:r>
            <a:r>
              <a:rPr lang="it-IT" altLang="zh-CN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883/2004 </a:t>
            </a:r>
            <a:r>
              <a:rPr lang="zh-CN" alt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和</a:t>
            </a:r>
            <a:r>
              <a:rPr lang="es-ES" altLang="zh-CN" dirty="0"/>
              <a:t>nº 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 </a:t>
            </a:r>
            <a:r>
              <a:rPr lang="it-IT" altLang="zh-CN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987/2009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（</a:t>
            </a:r>
            <a:r>
              <a:rPr lang="zh-CN" altLang="en-US" dirty="0"/>
              <a:t>欧盟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）</a:t>
            </a:r>
            <a:r>
              <a:rPr lang="zh-CN" alt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规定：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特别条款：疾病补助费</a:t>
            </a:r>
            <a:endParaRPr lang="es-ES" dirty="0"/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</p:nvPr>
        </p:nvGraphicFramePr>
        <p:xfrm>
          <a:off x="415925" y="981075"/>
          <a:ext cx="8994775" cy="51450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2 Rectángulo redondeado"/>
          <p:cNvSpPr/>
          <p:nvPr/>
        </p:nvSpPr>
        <p:spPr>
          <a:xfrm>
            <a:off x="469800" y="908650"/>
            <a:ext cx="8916670" cy="113043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600" b="1" dirty="0" err="1" smtClean="0">
                <a:solidFill>
                  <a:schemeClr val="tx1"/>
                </a:solidFill>
                <a:latin typeface="Optane"/>
              </a:rPr>
              <a:t>Example</a:t>
            </a:r>
            <a:r>
              <a:rPr lang="es-ES" sz="1600" b="1" dirty="0" smtClean="0">
                <a:solidFill>
                  <a:schemeClr val="tx1"/>
                </a:solidFill>
                <a:latin typeface="Optane"/>
              </a:rPr>
              <a:t> of </a:t>
            </a:r>
            <a:r>
              <a:rPr lang="es-ES" sz="1600" b="1" dirty="0" err="1" smtClean="0">
                <a:solidFill>
                  <a:schemeClr val="tx1"/>
                </a:solidFill>
                <a:latin typeface="Optane"/>
              </a:rPr>
              <a:t>retirement</a:t>
            </a:r>
            <a:r>
              <a:rPr lang="es-ES" sz="1600" b="1" dirty="0" smtClean="0">
                <a:solidFill>
                  <a:schemeClr val="tx1"/>
                </a:solidFill>
                <a:latin typeface="Optane"/>
              </a:rPr>
              <a:t> </a:t>
            </a:r>
            <a:r>
              <a:rPr lang="es-ES" sz="1600" b="1" dirty="0" err="1" smtClean="0">
                <a:solidFill>
                  <a:schemeClr val="tx1"/>
                </a:solidFill>
                <a:latin typeface="Optane"/>
              </a:rPr>
              <a:t>pension</a:t>
            </a:r>
            <a:r>
              <a:rPr lang="es-ES" sz="1600" b="1" dirty="0" smtClean="0">
                <a:solidFill>
                  <a:schemeClr val="tx1"/>
                </a:solidFill>
                <a:latin typeface="Optane"/>
              </a:rPr>
              <a:t>. </a:t>
            </a:r>
            <a:r>
              <a:rPr lang="es-ES" sz="1600" dirty="0" smtClean="0">
                <a:solidFill>
                  <a:schemeClr val="tx1"/>
                </a:solidFill>
                <a:latin typeface="Optane"/>
              </a:rPr>
              <a:t>15 </a:t>
            </a:r>
            <a:r>
              <a:rPr lang="es-ES" sz="1600" dirty="0" err="1" smtClean="0">
                <a:solidFill>
                  <a:schemeClr val="tx1"/>
                </a:solidFill>
                <a:latin typeface="Optane"/>
              </a:rPr>
              <a:t>years</a:t>
            </a:r>
            <a:r>
              <a:rPr lang="es-ES" sz="1600" dirty="0" smtClean="0">
                <a:solidFill>
                  <a:schemeClr val="tx1"/>
                </a:solidFill>
                <a:latin typeface="Optane"/>
              </a:rPr>
              <a:t> of </a:t>
            </a:r>
            <a:r>
              <a:rPr lang="es-ES" sz="1600" dirty="0" err="1" smtClean="0">
                <a:solidFill>
                  <a:schemeClr val="tx1"/>
                </a:solidFill>
                <a:latin typeface="Optane"/>
              </a:rPr>
              <a:t>work</a:t>
            </a:r>
            <a:r>
              <a:rPr lang="es-ES" sz="1600" dirty="0" smtClean="0">
                <a:solidFill>
                  <a:schemeClr val="tx1"/>
                </a:solidFill>
                <a:latin typeface="Optane"/>
              </a:rPr>
              <a:t> in Spain,10 in </a:t>
            </a:r>
            <a:r>
              <a:rPr lang="es-ES" sz="1600" dirty="0" err="1" smtClean="0">
                <a:solidFill>
                  <a:schemeClr val="tx1"/>
                </a:solidFill>
                <a:latin typeface="Optane"/>
              </a:rPr>
              <a:t>Poland</a:t>
            </a:r>
            <a:r>
              <a:rPr lang="es-ES" sz="1600" dirty="0" smtClean="0">
                <a:solidFill>
                  <a:schemeClr val="tx1"/>
                </a:solidFill>
                <a:latin typeface="Optane"/>
              </a:rPr>
              <a:t>. </a:t>
            </a:r>
            <a:r>
              <a:rPr lang="es-ES" sz="1600" dirty="0" err="1" smtClean="0">
                <a:solidFill>
                  <a:schemeClr val="tx1"/>
                </a:solidFill>
                <a:latin typeface="Optane"/>
              </a:rPr>
              <a:t>Contributions</a:t>
            </a:r>
            <a:r>
              <a:rPr lang="es-ES" sz="1600" dirty="0" smtClean="0">
                <a:solidFill>
                  <a:schemeClr val="tx1"/>
                </a:solidFill>
                <a:latin typeface="Optane"/>
              </a:rPr>
              <a:t> </a:t>
            </a:r>
            <a:r>
              <a:rPr lang="es-ES" sz="1600" dirty="0" err="1" smtClean="0">
                <a:solidFill>
                  <a:schemeClr val="tx1"/>
                </a:solidFill>
                <a:latin typeface="Optane"/>
              </a:rPr>
              <a:t>basis</a:t>
            </a:r>
            <a:r>
              <a:rPr lang="es-ES" sz="1600" dirty="0" smtClean="0">
                <a:solidFill>
                  <a:schemeClr val="tx1"/>
                </a:solidFill>
                <a:latin typeface="Optane"/>
              </a:rPr>
              <a:t> (CB) = 1000€. </a:t>
            </a:r>
            <a:r>
              <a:rPr lang="zh-CN" altLang="en-US" sz="1600" dirty="0">
                <a:solidFill>
                  <a:schemeClr val="tx1"/>
                </a:solidFill>
                <a:latin typeface="Optane"/>
              </a:rPr>
              <a:t> </a:t>
            </a:r>
            <a:r>
              <a:rPr lang="zh-CN" altLang="en-US" sz="1600" dirty="0" smtClean="0">
                <a:solidFill>
                  <a:schemeClr val="tx1"/>
                </a:solidFill>
                <a:latin typeface="Optane"/>
              </a:rPr>
              <a:t>                </a:t>
            </a:r>
            <a:r>
              <a:rPr lang="es-ES" sz="1600" dirty="0" smtClean="0">
                <a:solidFill>
                  <a:schemeClr val="tx1"/>
                </a:solidFill>
                <a:latin typeface="Optane"/>
              </a:rPr>
              <a:t>15 </a:t>
            </a:r>
            <a:r>
              <a:rPr lang="es-ES" sz="1600" dirty="0" err="1" smtClean="0">
                <a:solidFill>
                  <a:schemeClr val="tx1"/>
                </a:solidFill>
                <a:latin typeface="Optane"/>
              </a:rPr>
              <a:t>years</a:t>
            </a:r>
            <a:r>
              <a:rPr lang="es-ES" sz="1600" dirty="0" smtClean="0">
                <a:solidFill>
                  <a:schemeClr val="tx1"/>
                </a:solidFill>
                <a:latin typeface="Optane"/>
              </a:rPr>
              <a:t> = 50%CB; 35 </a:t>
            </a:r>
            <a:r>
              <a:rPr lang="es-ES" sz="1600" dirty="0" err="1" smtClean="0">
                <a:solidFill>
                  <a:schemeClr val="tx1"/>
                </a:solidFill>
                <a:latin typeface="Optane"/>
              </a:rPr>
              <a:t>years</a:t>
            </a:r>
            <a:r>
              <a:rPr lang="es-ES" sz="1600" dirty="0" smtClean="0">
                <a:solidFill>
                  <a:schemeClr val="tx1"/>
                </a:solidFill>
                <a:latin typeface="Optane"/>
              </a:rPr>
              <a:t> = 100%CB. Prorrata = (15/35)</a:t>
            </a:r>
          </a:p>
          <a:p>
            <a:r>
              <a:rPr lang="zh-CN" altLang="en-US" sz="1600" dirty="0" smtClean="0">
                <a:solidFill>
                  <a:schemeClr val="tx1"/>
                </a:solidFill>
                <a:latin typeface="Optane"/>
              </a:rPr>
              <a:t>退休养老金举例。在西班牙工作</a:t>
            </a:r>
            <a:r>
              <a:rPr lang="en-US" altLang="zh-CN" sz="1600" dirty="0" smtClean="0">
                <a:solidFill>
                  <a:schemeClr val="tx1"/>
                </a:solidFill>
                <a:latin typeface="Optane"/>
              </a:rPr>
              <a:t>15</a:t>
            </a:r>
            <a:r>
              <a:rPr lang="zh-CN" altLang="en-US" sz="1600" dirty="0" smtClean="0">
                <a:solidFill>
                  <a:schemeClr val="tx1"/>
                </a:solidFill>
                <a:latin typeface="Optane"/>
              </a:rPr>
              <a:t>年，在波兰工作</a:t>
            </a:r>
            <a:r>
              <a:rPr lang="en-US" altLang="zh-CN" sz="1600" dirty="0" smtClean="0">
                <a:solidFill>
                  <a:schemeClr val="tx1"/>
                </a:solidFill>
                <a:latin typeface="Optane"/>
              </a:rPr>
              <a:t>10</a:t>
            </a:r>
            <a:r>
              <a:rPr lang="zh-CN" altLang="en-US" sz="1600" dirty="0" smtClean="0">
                <a:solidFill>
                  <a:schemeClr val="tx1"/>
                </a:solidFill>
                <a:latin typeface="Optane"/>
              </a:rPr>
              <a:t>年。保险缴纳额基础（</a:t>
            </a:r>
            <a:r>
              <a:rPr lang="en-US" altLang="zh-CN" sz="1600" dirty="0" smtClean="0">
                <a:solidFill>
                  <a:schemeClr val="tx1"/>
                </a:solidFill>
                <a:latin typeface="Optane"/>
              </a:rPr>
              <a:t>CB</a:t>
            </a:r>
            <a:r>
              <a:rPr lang="zh-CN" altLang="en-US" sz="1600" dirty="0" smtClean="0">
                <a:solidFill>
                  <a:schemeClr val="tx1"/>
                </a:solidFill>
                <a:latin typeface="Optane"/>
              </a:rPr>
              <a:t>）</a:t>
            </a:r>
            <a:r>
              <a:rPr lang="en-US" altLang="zh-CN" sz="1600" dirty="0" smtClean="0">
                <a:solidFill>
                  <a:schemeClr val="tx1"/>
                </a:solidFill>
                <a:latin typeface="Optane"/>
              </a:rPr>
              <a:t>= 1000</a:t>
            </a:r>
            <a:r>
              <a:rPr lang="en-US" altLang="zh-CN" sz="1600" dirty="0">
                <a:solidFill>
                  <a:schemeClr val="tx1"/>
                </a:solidFill>
                <a:latin typeface="Optane"/>
              </a:rPr>
              <a:t>€. </a:t>
            </a:r>
            <a:endParaRPr lang="en-US" altLang="zh-CN" sz="1600" dirty="0" smtClean="0">
              <a:solidFill>
                <a:schemeClr val="tx1"/>
              </a:solidFill>
              <a:latin typeface="Optane"/>
            </a:endParaRPr>
          </a:p>
          <a:p>
            <a:r>
              <a:rPr lang="en-US" altLang="zh-CN" sz="1600" dirty="0" smtClean="0">
                <a:solidFill>
                  <a:schemeClr val="tx1"/>
                </a:solidFill>
                <a:latin typeface="Optane"/>
              </a:rPr>
              <a:t>15</a:t>
            </a:r>
            <a:r>
              <a:rPr lang="zh-CN" altLang="en-US" sz="1600" dirty="0">
                <a:solidFill>
                  <a:schemeClr val="tx1"/>
                </a:solidFill>
                <a:latin typeface="Optane"/>
              </a:rPr>
              <a:t>年 </a:t>
            </a:r>
            <a:r>
              <a:rPr lang="en-US" altLang="zh-CN" sz="1600" dirty="0">
                <a:solidFill>
                  <a:schemeClr val="tx1"/>
                </a:solidFill>
                <a:latin typeface="Optane"/>
              </a:rPr>
              <a:t>= 50%CB; 35 years = 100%CB. </a:t>
            </a:r>
            <a:r>
              <a:rPr lang="zh-CN" altLang="en-US" sz="1600" dirty="0">
                <a:solidFill>
                  <a:schemeClr val="tx1"/>
                </a:solidFill>
                <a:latin typeface="Optane"/>
              </a:rPr>
              <a:t>按比例分配 </a:t>
            </a:r>
            <a:r>
              <a:rPr lang="en-US" altLang="zh-CN" sz="1600" dirty="0">
                <a:solidFill>
                  <a:schemeClr val="tx1"/>
                </a:solidFill>
                <a:latin typeface="Optane"/>
              </a:rPr>
              <a:t>= (15/35</a:t>
            </a:r>
            <a:r>
              <a:rPr lang="en-US" altLang="zh-CN" sz="1600" dirty="0" smtClean="0">
                <a:solidFill>
                  <a:schemeClr val="tx1"/>
                </a:solidFill>
                <a:latin typeface="Optane"/>
              </a:rPr>
              <a:t>)</a:t>
            </a:r>
            <a:endParaRPr lang="es-ES" sz="1600" dirty="0" smtClean="0">
              <a:solidFill>
                <a:schemeClr val="tx1"/>
              </a:solidFill>
              <a:latin typeface="Optane"/>
            </a:endParaRPr>
          </a:p>
        </p:txBody>
      </p:sp>
      <p:sp>
        <p:nvSpPr>
          <p:cNvPr id="13" name="12 Retraso"/>
          <p:cNvSpPr/>
          <p:nvPr/>
        </p:nvSpPr>
        <p:spPr>
          <a:xfrm>
            <a:off x="5484680" y="2132819"/>
            <a:ext cx="4220980" cy="2016282"/>
          </a:xfrm>
          <a:prstGeom prst="flowChartDelay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600" b="1" dirty="0" smtClean="0">
                <a:solidFill>
                  <a:schemeClr val="tx1"/>
                </a:solidFill>
                <a:latin typeface="Optane"/>
              </a:rPr>
              <a:t>PRO RATA PENSION </a:t>
            </a:r>
            <a:r>
              <a:rPr lang="zh-CN" altLang="en-US" sz="1600" b="1" dirty="0" smtClean="0">
                <a:solidFill>
                  <a:schemeClr val="tx1"/>
                </a:solidFill>
                <a:latin typeface="Optane"/>
              </a:rPr>
              <a:t>按比例养老金</a:t>
            </a:r>
            <a:r>
              <a:rPr lang="es-ES" sz="1600" b="1" dirty="0" smtClean="0">
                <a:solidFill>
                  <a:schemeClr val="tx1"/>
                </a:solidFill>
                <a:latin typeface="Optane"/>
              </a:rPr>
              <a:t>: </a:t>
            </a:r>
            <a:r>
              <a:rPr lang="es-ES" sz="1600" dirty="0" smtClean="0">
                <a:solidFill>
                  <a:schemeClr val="tx1"/>
                </a:solidFill>
                <a:latin typeface="Optane"/>
              </a:rPr>
              <a:t>(35 </a:t>
            </a:r>
            <a:r>
              <a:rPr lang="es-ES" sz="1600" dirty="0" err="1" smtClean="0">
                <a:solidFill>
                  <a:schemeClr val="tx1"/>
                </a:solidFill>
                <a:latin typeface="Optane"/>
              </a:rPr>
              <a:t>years</a:t>
            </a:r>
            <a:r>
              <a:rPr lang="es-ES" sz="1600" dirty="0" smtClean="0">
                <a:solidFill>
                  <a:schemeClr val="tx1"/>
                </a:solidFill>
                <a:latin typeface="Optane"/>
              </a:rPr>
              <a:t>)</a:t>
            </a:r>
            <a:r>
              <a:rPr lang="zh-CN" altLang="en-US" sz="1600" b="1" dirty="0" smtClean="0">
                <a:solidFill>
                  <a:schemeClr val="tx1"/>
                </a:solidFill>
                <a:latin typeface="Optane"/>
              </a:rPr>
              <a:t> （</a:t>
            </a:r>
            <a:r>
              <a:rPr lang="en-US" altLang="zh-CN" sz="1600" b="1" dirty="0" smtClean="0">
                <a:solidFill>
                  <a:schemeClr val="tx1"/>
                </a:solidFill>
                <a:latin typeface="Optane"/>
              </a:rPr>
              <a:t>35</a:t>
            </a:r>
            <a:r>
              <a:rPr lang="zh-CN" altLang="en-US" sz="1600" b="1" dirty="0" smtClean="0">
                <a:solidFill>
                  <a:schemeClr val="tx1"/>
                </a:solidFill>
                <a:latin typeface="Optane"/>
              </a:rPr>
              <a:t>年）</a:t>
            </a:r>
            <a:endParaRPr lang="es-ES" sz="1600" dirty="0" smtClean="0">
              <a:solidFill>
                <a:schemeClr val="tx1"/>
              </a:solidFill>
              <a:latin typeface="Optane"/>
            </a:endParaRPr>
          </a:p>
          <a:p>
            <a:r>
              <a:rPr lang="es-ES" sz="1600" dirty="0" err="1" smtClean="0">
                <a:solidFill>
                  <a:schemeClr val="tx1"/>
                </a:solidFill>
                <a:latin typeface="Optane"/>
              </a:rPr>
              <a:t>Theoretical</a:t>
            </a:r>
            <a:r>
              <a:rPr lang="es-ES" sz="1600" dirty="0" smtClean="0">
                <a:solidFill>
                  <a:schemeClr val="tx1"/>
                </a:solidFill>
                <a:latin typeface="Optane"/>
              </a:rPr>
              <a:t> </a:t>
            </a:r>
            <a:r>
              <a:rPr lang="es-ES" sz="1600" dirty="0" err="1" smtClean="0">
                <a:solidFill>
                  <a:schemeClr val="tx1"/>
                </a:solidFill>
                <a:latin typeface="Optane"/>
              </a:rPr>
              <a:t>amount</a:t>
            </a:r>
            <a:r>
              <a:rPr lang="zh-CN" altLang="en-US" sz="1600" dirty="0">
                <a:solidFill>
                  <a:schemeClr val="tx1"/>
                </a:solidFill>
                <a:latin typeface="Optane"/>
              </a:rPr>
              <a:t>理论金额</a:t>
            </a:r>
            <a:r>
              <a:rPr lang="es-ES" sz="1600" dirty="0" smtClean="0">
                <a:solidFill>
                  <a:schemeClr val="tx1"/>
                </a:solidFill>
                <a:latin typeface="Optane"/>
              </a:rPr>
              <a:t>: 100%CB=1000€</a:t>
            </a:r>
          </a:p>
          <a:p>
            <a:r>
              <a:rPr lang="es-ES" sz="1600" dirty="0" smtClean="0">
                <a:solidFill>
                  <a:schemeClr val="tx1"/>
                </a:solidFill>
                <a:latin typeface="Optane"/>
              </a:rPr>
              <a:t>Actual </a:t>
            </a:r>
            <a:r>
              <a:rPr lang="es-ES" sz="1600" dirty="0" err="1" smtClean="0">
                <a:solidFill>
                  <a:schemeClr val="tx1"/>
                </a:solidFill>
                <a:latin typeface="Optane"/>
              </a:rPr>
              <a:t>amoun</a:t>
            </a:r>
            <a:r>
              <a:rPr lang="zh-CN" altLang="en-US" sz="1600" dirty="0">
                <a:solidFill>
                  <a:schemeClr val="tx1"/>
                </a:solidFill>
                <a:latin typeface="Optane"/>
              </a:rPr>
              <a:t>实际金额</a:t>
            </a:r>
            <a:r>
              <a:rPr lang="es-ES" sz="1600" dirty="0" smtClean="0">
                <a:solidFill>
                  <a:schemeClr val="tx1"/>
                </a:solidFill>
                <a:latin typeface="Optane"/>
              </a:rPr>
              <a:t>t: 1000x(15/35)=</a:t>
            </a:r>
            <a:r>
              <a:rPr lang="es-ES" sz="1600" b="1" dirty="0" smtClean="0">
                <a:solidFill>
                  <a:schemeClr val="tx1"/>
                </a:solidFill>
                <a:latin typeface="Optane"/>
              </a:rPr>
              <a:t>428,57€</a:t>
            </a:r>
          </a:p>
        </p:txBody>
      </p:sp>
      <p:sp>
        <p:nvSpPr>
          <p:cNvPr id="15" name="14 Retraso"/>
          <p:cNvSpPr/>
          <p:nvPr/>
        </p:nvSpPr>
        <p:spPr>
          <a:xfrm rot="10800000">
            <a:off x="128330" y="2123659"/>
            <a:ext cx="4339180" cy="2016280"/>
          </a:xfrm>
          <a:prstGeom prst="flowChartDelay">
            <a:avLst/>
          </a:prstGeom>
          <a:solidFill>
            <a:srgbClr val="FC815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4" name="13 Elipse"/>
          <p:cNvSpPr/>
          <p:nvPr/>
        </p:nvSpPr>
        <p:spPr>
          <a:xfrm>
            <a:off x="1496520" y="4418289"/>
            <a:ext cx="7201000" cy="1800250"/>
          </a:xfrm>
          <a:prstGeom prst="ellipse">
            <a:avLst/>
          </a:prstGeom>
          <a:solidFill>
            <a:srgbClr val="FFCC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200" b="1" dirty="0" smtClean="0">
                <a:solidFill>
                  <a:schemeClr val="tx1"/>
                </a:solidFill>
                <a:latin typeface="Optane"/>
              </a:rPr>
              <a:t>PENSION AWARDED </a:t>
            </a:r>
            <a:r>
              <a:rPr lang="zh-CN" altLang="en-US" sz="2200" b="1" dirty="0" smtClean="0">
                <a:solidFill>
                  <a:schemeClr val="tx1"/>
                </a:solidFill>
                <a:latin typeface="Optane"/>
              </a:rPr>
              <a:t>已获批养老金</a:t>
            </a:r>
            <a:r>
              <a:rPr lang="es-ES" sz="2200" dirty="0" smtClean="0">
                <a:solidFill>
                  <a:schemeClr val="tx1"/>
                </a:solidFill>
                <a:latin typeface="Optane"/>
              </a:rPr>
              <a:t>= (Higher amount </a:t>
            </a:r>
            <a:r>
              <a:rPr lang="zh-CN" altLang="en-US" sz="2200" dirty="0" smtClean="0">
                <a:solidFill>
                  <a:schemeClr val="tx1"/>
                </a:solidFill>
                <a:latin typeface="Optane"/>
              </a:rPr>
              <a:t>更高金额</a:t>
            </a:r>
            <a:r>
              <a:rPr lang="es-ES" sz="2200" dirty="0" smtClean="0">
                <a:solidFill>
                  <a:schemeClr val="tx1"/>
                </a:solidFill>
                <a:latin typeface="Optane"/>
              </a:rPr>
              <a:t>)</a:t>
            </a:r>
            <a:r>
              <a:rPr lang="es-ES" sz="2200" b="1" dirty="0" smtClean="0">
                <a:solidFill>
                  <a:schemeClr val="tx1"/>
                </a:solidFill>
                <a:latin typeface="Optane"/>
              </a:rPr>
              <a:t>:</a:t>
            </a:r>
          </a:p>
          <a:p>
            <a:pPr algn="ctr"/>
            <a:endParaRPr lang="es-ES" sz="2200" dirty="0" smtClean="0">
              <a:solidFill>
                <a:schemeClr val="tx1"/>
              </a:solidFill>
              <a:latin typeface="Optane"/>
            </a:endParaRPr>
          </a:p>
          <a:p>
            <a:pPr algn="ctr"/>
            <a:r>
              <a:rPr lang="es-ES" sz="2200" b="1" u="sng" dirty="0" smtClean="0">
                <a:solidFill>
                  <a:schemeClr val="tx1"/>
                </a:solidFill>
                <a:latin typeface="Optane"/>
              </a:rPr>
              <a:t>NATIONAL PENSION </a:t>
            </a:r>
            <a:r>
              <a:rPr lang="zh-CN" altLang="en-US" sz="2200" b="1" u="sng" dirty="0" smtClean="0">
                <a:solidFill>
                  <a:schemeClr val="tx1"/>
                </a:solidFill>
                <a:latin typeface="Optane"/>
              </a:rPr>
              <a:t>国家养老金</a:t>
            </a:r>
            <a:endParaRPr lang="es-ES" sz="2200" dirty="0" smtClean="0">
              <a:solidFill>
                <a:schemeClr val="tx1"/>
              </a:solidFill>
              <a:latin typeface="Optane"/>
            </a:endParaRPr>
          </a:p>
        </p:txBody>
      </p:sp>
      <p:sp>
        <p:nvSpPr>
          <p:cNvPr id="16" name="15 CuadroTexto"/>
          <p:cNvSpPr txBox="1"/>
          <p:nvPr/>
        </p:nvSpPr>
        <p:spPr>
          <a:xfrm>
            <a:off x="776420" y="2609044"/>
            <a:ext cx="345648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200" b="1" dirty="0" smtClean="0">
                <a:latin typeface="Optane"/>
              </a:rPr>
              <a:t>NATIONAL PENSION </a:t>
            </a:r>
            <a:r>
              <a:rPr lang="es-ES" sz="2200" dirty="0" smtClean="0">
                <a:latin typeface="Optane"/>
              </a:rPr>
              <a:t>(15 years): </a:t>
            </a:r>
            <a:r>
              <a:rPr lang="zh-CN" altLang="en-US" sz="2200" dirty="0" smtClean="0">
                <a:latin typeface="Optane"/>
              </a:rPr>
              <a:t>国家养老金（</a:t>
            </a:r>
            <a:r>
              <a:rPr lang="en-US" altLang="zh-CN" sz="2200" dirty="0" smtClean="0">
                <a:latin typeface="Optane"/>
              </a:rPr>
              <a:t>15</a:t>
            </a:r>
            <a:r>
              <a:rPr lang="zh-CN" altLang="en-US" sz="2200" dirty="0" smtClean="0">
                <a:latin typeface="Optane"/>
              </a:rPr>
              <a:t>年）</a:t>
            </a:r>
            <a:endParaRPr lang="es-ES" sz="2200" dirty="0" smtClean="0">
              <a:latin typeface="Optane"/>
            </a:endParaRPr>
          </a:p>
          <a:p>
            <a:r>
              <a:rPr lang="es-ES" sz="2200" dirty="0" smtClean="0">
                <a:latin typeface="Optane"/>
              </a:rPr>
              <a:t>50%CB = </a:t>
            </a:r>
            <a:r>
              <a:rPr lang="es-ES" sz="2200" b="1" dirty="0" smtClean="0">
                <a:latin typeface="Optane"/>
              </a:rPr>
              <a:t>500€</a:t>
            </a:r>
          </a:p>
        </p:txBody>
      </p:sp>
      <p:sp>
        <p:nvSpPr>
          <p:cNvPr id="17" name="16 Flecha derecha"/>
          <p:cNvSpPr/>
          <p:nvPr/>
        </p:nvSpPr>
        <p:spPr>
          <a:xfrm>
            <a:off x="4617815" y="5346984"/>
            <a:ext cx="551215" cy="242316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8" name="17 Flecha izquierda y derecha"/>
          <p:cNvSpPr/>
          <p:nvPr/>
        </p:nvSpPr>
        <p:spPr>
          <a:xfrm>
            <a:off x="4557320" y="2673453"/>
            <a:ext cx="864120" cy="458346"/>
          </a:xfrm>
          <a:prstGeom prst="left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9" name="18 Flecha abajo"/>
          <p:cNvSpPr/>
          <p:nvPr/>
        </p:nvSpPr>
        <p:spPr>
          <a:xfrm>
            <a:off x="4782824" y="3789050"/>
            <a:ext cx="484632" cy="48521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20" name="19 Imagen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4979" y="3140960"/>
            <a:ext cx="542039" cy="539630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/>
              <a:t>REGULATIONS (EU) nº 883/04 and nº 987/09: Special provisions</a:t>
            </a:r>
            <a:r>
              <a:rPr lang="es-ES" dirty="0" smtClean="0"/>
              <a:t>: UNEMPLOYMENT</a:t>
            </a:r>
            <a:br>
              <a:rPr lang="es-ES" dirty="0" smtClean="0"/>
            </a:br>
            <a:r>
              <a:rPr lang="es-ES" altLang="zh-CN" dirty="0"/>
              <a:t>nº 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 </a:t>
            </a:r>
            <a:r>
              <a:rPr lang="it-IT" altLang="zh-CN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883/2004 </a:t>
            </a:r>
            <a:r>
              <a:rPr lang="zh-CN" alt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和</a:t>
            </a:r>
            <a:r>
              <a:rPr lang="es-ES" altLang="zh-CN" dirty="0"/>
              <a:t>nº 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 </a:t>
            </a:r>
            <a:r>
              <a:rPr lang="it-IT" altLang="zh-CN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987/2009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（</a:t>
            </a:r>
            <a:r>
              <a:rPr lang="zh-CN" altLang="en-US" dirty="0"/>
              <a:t>欧盟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）</a:t>
            </a:r>
            <a:r>
              <a:rPr lang="zh-CN" alt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规定：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特别条款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：失业</a:t>
            </a:r>
            <a:endParaRPr lang="es-ES" dirty="0"/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92681114"/>
              </p:ext>
            </p:extLst>
          </p:nvPr>
        </p:nvGraphicFramePr>
        <p:xfrm>
          <a:off x="415925" y="981075"/>
          <a:ext cx="8994775" cy="51450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5 Flecha curvada hacia la derecha"/>
          <p:cNvSpPr/>
          <p:nvPr/>
        </p:nvSpPr>
        <p:spPr>
          <a:xfrm rot="18759773">
            <a:off x="655563" y="4855553"/>
            <a:ext cx="561413" cy="1046293"/>
          </a:xfrm>
          <a:prstGeom prst="curvedRightArrow">
            <a:avLst/>
          </a:prstGeom>
          <a:solidFill>
            <a:schemeClr val="accent3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/>
              </a:solidFill>
            </a:endParaRPr>
          </a:p>
        </p:txBody>
      </p:sp>
      <p:sp>
        <p:nvSpPr>
          <p:cNvPr id="8" name="7 Flecha curvada hacia arriba"/>
          <p:cNvSpPr/>
          <p:nvPr/>
        </p:nvSpPr>
        <p:spPr>
          <a:xfrm rot="12994144">
            <a:off x="1520892" y="4242700"/>
            <a:ext cx="982384" cy="406420"/>
          </a:xfrm>
          <a:prstGeom prst="curvedUpArrow">
            <a:avLst>
              <a:gd name="adj1" fmla="val 39354"/>
              <a:gd name="adj2" fmla="val 50000"/>
              <a:gd name="adj3" fmla="val 25000"/>
            </a:avLst>
          </a:prstGeom>
          <a:solidFill>
            <a:schemeClr val="accent3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692620"/>
            <a:ext cx="9200197" cy="6093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it-I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TRODUCTION </a:t>
            </a:r>
            <a:r>
              <a:rPr lang="zh-CN" alt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宋体" charset="0"/>
                <a:cs typeface="Verdana" pitchFamily="34" charset="0"/>
              </a:rPr>
              <a:t>导言</a:t>
            </a:r>
            <a:endParaRPr lang="zh-CN" altLang="it-IT" sz="2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宋体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it-I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GULATIONS (EU) nº 883/2004 and nº 987/2009: 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it-IT" altLang="zh-C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º </a:t>
            </a:r>
            <a:r>
              <a:rPr lang="it-I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  <a:sym typeface="+mn-ea"/>
              </a:rPr>
              <a:t>883/2004 </a:t>
            </a:r>
            <a:r>
              <a:rPr lang="zh-CN" altLang="it-I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宋体" charset="0"/>
                <a:cs typeface="Verdana" pitchFamily="34" charset="0"/>
                <a:sym typeface="+mn-ea"/>
              </a:rPr>
              <a:t>和</a:t>
            </a:r>
            <a:r>
              <a:rPr lang="it-IT" altLang="zh-C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º </a:t>
            </a:r>
            <a:r>
              <a:rPr lang="it-I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  <a:sym typeface="+mn-ea"/>
              </a:rPr>
              <a:t>987/2009</a:t>
            </a:r>
            <a:r>
              <a:rPr lang="zh-CN" alt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  <a:sym typeface="+mn-ea"/>
              </a:rPr>
              <a:t>（欧盟）</a:t>
            </a:r>
            <a:r>
              <a:rPr lang="zh-CN" altLang="it-I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宋体" charset="0"/>
                <a:cs typeface="Verdana" pitchFamily="34" charset="0"/>
                <a:sym typeface="+mn-ea"/>
              </a:rPr>
              <a:t>规定</a:t>
            </a:r>
          </a:p>
          <a:p>
            <a:pPr marL="1257300" lvl="2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ENERAL PRINCIPLES </a:t>
            </a:r>
            <a:r>
              <a:rPr lang="zh-CN" alt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宋体" charset="0"/>
                <a:cs typeface="Verdana" pitchFamily="34" charset="0"/>
              </a:rPr>
              <a:t>总则</a:t>
            </a:r>
          </a:p>
          <a:p>
            <a:pPr marL="1257300" lvl="2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COPE </a:t>
            </a:r>
            <a:r>
              <a:rPr lang="zh-CN" alt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宋体" charset="0"/>
                <a:cs typeface="Verdana" pitchFamily="34" charset="0"/>
              </a:rPr>
              <a:t>范围</a:t>
            </a:r>
          </a:p>
          <a:p>
            <a:pPr marL="1257300" lvl="2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ENT </a:t>
            </a:r>
            <a:r>
              <a:rPr lang="zh-CN" alt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宋体" charset="0"/>
                <a:cs typeface="Verdana" pitchFamily="34" charset="0"/>
              </a:rPr>
              <a:t>内容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it-I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TERPRETATION: EUROPEAN COURT OF JUSTICE, ADMINISTRATIVE COMMISSION </a:t>
            </a:r>
            <a:r>
              <a:rPr lang="zh-CN" altLang="it-I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宋体" charset="0"/>
                <a:cs typeface="Verdana" pitchFamily="34" charset="0"/>
              </a:rPr>
              <a:t>解释：欧洲法院行政委员会</a:t>
            </a:r>
          </a:p>
          <a:p>
            <a:pPr algn="just"/>
            <a:endParaRPr lang="it-IT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itchFamily="34" charset="0"/>
              <a:buChar char="•"/>
            </a:pPr>
            <a:endParaRPr lang="it-IT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/>
          <p:nvPr/>
        </p:nvSpPr>
        <p:spPr>
          <a:xfrm>
            <a:off x="344364" y="188901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Index </a:t>
            </a:r>
            <a:r>
              <a:rPr lang="zh-CN" altLang="en-US" dirty="0" smtClean="0"/>
              <a:t>索引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/>
              <a:t>REGULATIONS (EU) nº 883/04 and nº 987/09: Special provisions</a:t>
            </a:r>
            <a:r>
              <a:rPr lang="es-ES" dirty="0" smtClean="0"/>
              <a:t>: FAMILY BENEFITS</a:t>
            </a:r>
            <a:br>
              <a:rPr lang="es-ES" dirty="0" smtClean="0"/>
            </a:br>
            <a:r>
              <a:rPr lang="es-ES" altLang="zh-CN" dirty="0"/>
              <a:t>nº 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 </a:t>
            </a:r>
            <a:r>
              <a:rPr lang="it-IT" altLang="zh-CN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883/2004 </a:t>
            </a:r>
            <a:r>
              <a:rPr lang="zh-CN" alt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和</a:t>
            </a:r>
            <a:r>
              <a:rPr lang="es-ES" altLang="zh-CN" dirty="0"/>
              <a:t>nº 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 </a:t>
            </a:r>
            <a:r>
              <a:rPr lang="it-IT" altLang="zh-CN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987/2009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（</a:t>
            </a:r>
            <a:r>
              <a:rPr lang="zh-CN" altLang="en-US" dirty="0"/>
              <a:t>欧盟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）</a:t>
            </a:r>
            <a:r>
              <a:rPr lang="zh-CN" alt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规定：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特别条款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：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家庭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福利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b="1" dirty="0"/>
              <a:t>Priority rules in the event of </a:t>
            </a:r>
            <a:r>
              <a:rPr lang="en-US" sz="2000" b="1" dirty="0" smtClean="0"/>
              <a:t>overlapping of Family Benefits:</a:t>
            </a:r>
          </a:p>
          <a:p>
            <a:r>
              <a:rPr lang="zh-CN" altLang="en-US" sz="2000" b="1" dirty="0" smtClean="0"/>
              <a:t>倘若家庭福利重叠，优先原则是：</a:t>
            </a:r>
            <a:endParaRPr lang="en-US" sz="2000" b="1" dirty="0" smtClean="0"/>
          </a:p>
          <a:p>
            <a:pPr marL="0" indent="0">
              <a:buNone/>
            </a:pPr>
            <a:endParaRPr lang="en-US" b="1" dirty="0" smtClean="0"/>
          </a:p>
          <a:p>
            <a:pPr marL="0" indent="0">
              <a:buNone/>
            </a:pPr>
            <a:endParaRPr lang="es-ES" dirty="0"/>
          </a:p>
        </p:txBody>
      </p:sp>
      <p:pic>
        <p:nvPicPr>
          <p:cNvPr id="4" name="3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350" y="2472848"/>
            <a:ext cx="2459749" cy="3378055"/>
          </a:xfrm>
          <a:prstGeom prst="rect">
            <a:avLst/>
          </a:prstGeom>
        </p:spPr>
      </p:pic>
      <p:pic>
        <p:nvPicPr>
          <p:cNvPr id="5" name="4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7118" y="2763555"/>
            <a:ext cx="3758882" cy="3007105"/>
          </a:xfrm>
          <a:prstGeom prst="rect">
            <a:avLst/>
          </a:prstGeom>
        </p:spPr>
      </p:pic>
      <p:pic>
        <p:nvPicPr>
          <p:cNvPr id="6" name="5 Image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9042" y="2060810"/>
            <a:ext cx="3076880" cy="2389106"/>
          </a:xfrm>
          <a:prstGeom prst="rect">
            <a:avLst/>
          </a:prstGeom>
        </p:spPr>
      </p:pic>
      <p:sp>
        <p:nvSpPr>
          <p:cNvPr id="7" name="6 Rectángulo"/>
          <p:cNvSpPr/>
          <p:nvPr/>
        </p:nvSpPr>
        <p:spPr>
          <a:xfrm>
            <a:off x="2537340" y="4338290"/>
            <a:ext cx="3609778" cy="165623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ct val="50000"/>
              </a:lnSpc>
            </a:pPr>
            <a:r>
              <a:rPr lang="es-ES" sz="2400" dirty="0" smtClean="0">
                <a:solidFill>
                  <a:schemeClr val="tx1"/>
                </a:solidFill>
                <a:latin typeface="Optane"/>
              </a:rPr>
              <a:t>PRIORITY:</a:t>
            </a:r>
          </a:p>
          <a:p>
            <a:pPr algn="just">
              <a:lnSpc>
                <a:spcPct val="50000"/>
              </a:lnSpc>
            </a:pPr>
            <a:r>
              <a:rPr lang="zh-CN" altLang="en-US" sz="2400" dirty="0" smtClean="0">
                <a:solidFill>
                  <a:schemeClr val="tx1"/>
                </a:solidFill>
                <a:latin typeface="Optane"/>
              </a:rPr>
              <a:t>优先顺序</a:t>
            </a:r>
            <a:endParaRPr lang="es-ES" sz="2400" dirty="0" smtClean="0">
              <a:solidFill>
                <a:schemeClr val="tx1"/>
              </a:solidFill>
              <a:latin typeface="Optane"/>
            </a:endParaRPr>
          </a:p>
          <a:p>
            <a:pPr algn="just">
              <a:lnSpc>
                <a:spcPct val="50000"/>
              </a:lnSpc>
            </a:pPr>
            <a:r>
              <a:rPr lang="es-ES" sz="2400" dirty="0" smtClean="0">
                <a:solidFill>
                  <a:schemeClr val="tx1"/>
                </a:solidFill>
                <a:latin typeface="Optane"/>
              </a:rPr>
              <a:t> </a:t>
            </a:r>
          </a:p>
          <a:p>
            <a:pPr marL="457200" indent="-457200" algn="just">
              <a:lnSpc>
                <a:spcPct val="50000"/>
              </a:lnSpc>
              <a:buFont typeface="+mj-lt"/>
              <a:buAutoNum type="arabicPeriod"/>
            </a:pPr>
            <a:r>
              <a:rPr lang="es-ES" sz="2400" dirty="0" smtClean="0">
                <a:solidFill>
                  <a:schemeClr val="tx1"/>
                </a:solidFill>
                <a:latin typeface="Optane"/>
              </a:rPr>
              <a:t>Work </a:t>
            </a:r>
            <a:r>
              <a:rPr lang="zh-CN" altLang="en-US" sz="2400" dirty="0" smtClean="0">
                <a:solidFill>
                  <a:schemeClr val="tx1"/>
                </a:solidFill>
                <a:latin typeface="Optane"/>
              </a:rPr>
              <a:t>工作</a:t>
            </a:r>
            <a:endParaRPr lang="es-ES" sz="2400" dirty="0" smtClean="0">
              <a:solidFill>
                <a:schemeClr val="tx1"/>
              </a:solidFill>
              <a:latin typeface="Optane"/>
            </a:endParaRPr>
          </a:p>
          <a:p>
            <a:pPr marL="457200" indent="-457200" algn="just">
              <a:lnSpc>
                <a:spcPct val="50000"/>
              </a:lnSpc>
              <a:buFont typeface="+mj-lt"/>
              <a:buAutoNum type="arabicPeriod"/>
            </a:pPr>
            <a:r>
              <a:rPr lang="es-ES" sz="2400" dirty="0" smtClean="0">
                <a:solidFill>
                  <a:schemeClr val="tx1"/>
                </a:solidFill>
                <a:latin typeface="Optane"/>
              </a:rPr>
              <a:t>Pension </a:t>
            </a:r>
            <a:r>
              <a:rPr lang="zh-CN" altLang="en-US" sz="2400" dirty="0" smtClean="0">
                <a:solidFill>
                  <a:schemeClr val="tx1"/>
                </a:solidFill>
                <a:latin typeface="Optane"/>
              </a:rPr>
              <a:t>养老金</a:t>
            </a:r>
            <a:endParaRPr lang="es-ES" sz="2400" dirty="0" smtClean="0">
              <a:solidFill>
                <a:schemeClr val="tx1"/>
              </a:solidFill>
              <a:latin typeface="Optane"/>
            </a:endParaRPr>
          </a:p>
          <a:p>
            <a:pPr marL="457200" indent="-457200" algn="just">
              <a:lnSpc>
                <a:spcPct val="50000"/>
              </a:lnSpc>
              <a:buFont typeface="+mj-lt"/>
              <a:buAutoNum type="arabicPeriod"/>
            </a:pPr>
            <a:r>
              <a:rPr lang="es-ES" sz="2400" dirty="0" smtClean="0">
                <a:solidFill>
                  <a:schemeClr val="tx1"/>
                </a:solidFill>
                <a:latin typeface="Optane"/>
              </a:rPr>
              <a:t>Residence </a:t>
            </a:r>
            <a:r>
              <a:rPr lang="zh-CN" altLang="en-US" sz="2400" dirty="0">
                <a:solidFill>
                  <a:schemeClr val="tx1"/>
                </a:solidFill>
                <a:latin typeface="Optane"/>
              </a:rPr>
              <a:t>居住</a:t>
            </a:r>
            <a:endParaRPr lang="es-ES" sz="2400" dirty="0">
              <a:solidFill>
                <a:schemeClr val="tx1"/>
              </a:solidFill>
              <a:latin typeface="Optane"/>
            </a:endParaRPr>
          </a:p>
          <a:p>
            <a:pPr marL="457200" indent="-457200" algn="just">
              <a:lnSpc>
                <a:spcPct val="50000"/>
              </a:lnSpc>
              <a:buFont typeface="+mj-lt"/>
              <a:buAutoNum type="arabicPeriod"/>
            </a:pPr>
            <a:endParaRPr lang="es-ES" sz="2400" dirty="0">
              <a:solidFill>
                <a:schemeClr val="tx1"/>
              </a:solidFill>
              <a:latin typeface="Optane"/>
            </a:endParaRPr>
          </a:p>
        </p:txBody>
      </p:sp>
      <p:sp>
        <p:nvSpPr>
          <p:cNvPr id="10" name="9 Flecha curvada hacia la derecha"/>
          <p:cNvSpPr/>
          <p:nvPr/>
        </p:nvSpPr>
        <p:spPr>
          <a:xfrm rot="4478555">
            <a:off x="3004838" y="1428992"/>
            <a:ext cx="365760" cy="1617371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/>
              </a:solidFill>
            </a:endParaRPr>
          </a:p>
        </p:txBody>
      </p:sp>
      <p:sp>
        <p:nvSpPr>
          <p:cNvPr id="11" name="10 Flecha curvada hacia abajo"/>
          <p:cNvSpPr/>
          <p:nvPr/>
        </p:nvSpPr>
        <p:spPr>
          <a:xfrm rot="1320237">
            <a:off x="5623871" y="1768273"/>
            <a:ext cx="1901144" cy="435121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/>
              </a:solidFill>
            </a:endParaRPr>
          </a:p>
        </p:txBody>
      </p:sp>
      <p:pic>
        <p:nvPicPr>
          <p:cNvPr id="12" name="11 Imagen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7604" y="4407193"/>
            <a:ext cx="448574" cy="446581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/>
              <a:t>REGULATIONS (EU) nº 883/04 and nº 987/09: Special provisions</a:t>
            </a:r>
            <a:r>
              <a:rPr lang="es-ES" dirty="0" smtClean="0"/>
              <a:t>:</a:t>
            </a:r>
            <a:r>
              <a:rPr lang="es-ES" i="1" dirty="0"/>
              <a:t> </a:t>
            </a:r>
            <a:r>
              <a:rPr lang="es-ES" i="1" dirty="0" smtClean="0"/>
              <a:t>SNCB</a:t>
            </a:r>
            <a:br>
              <a:rPr lang="es-ES" i="1" dirty="0" smtClean="0"/>
            </a:br>
            <a:r>
              <a:rPr lang="es-ES" altLang="zh-CN" dirty="0"/>
              <a:t>nº 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 </a:t>
            </a:r>
            <a:r>
              <a:rPr lang="it-IT" altLang="zh-CN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883/2004 </a:t>
            </a:r>
            <a:r>
              <a:rPr lang="zh-CN" alt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和</a:t>
            </a:r>
            <a:r>
              <a:rPr lang="es-ES" altLang="zh-CN" dirty="0"/>
              <a:t>nº 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 </a:t>
            </a:r>
            <a:r>
              <a:rPr lang="it-IT" altLang="zh-CN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987/2009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（</a:t>
            </a:r>
            <a:r>
              <a:rPr lang="zh-CN" altLang="en-US" dirty="0"/>
              <a:t>欧盟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）</a:t>
            </a:r>
            <a:r>
              <a:rPr lang="zh-CN" alt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规定：</a:t>
            </a: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特别条款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：</a:t>
            </a:r>
            <a:r>
              <a:rPr lang="en-US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SNCB</a:t>
            </a:r>
            <a:r>
              <a:rPr lang="es-ES" i="1" dirty="0" smtClean="0"/>
              <a:t/>
            </a:r>
            <a:br>
              <a:rPr lang="es-ES" i="1" dirty="0" smtClean="0"/>
            </a:b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16370" y="836640"/>
            <a:ext cx="8994330" cy="5289527"/>
          </a:xfrm>
        </p:spPr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s-ES" sz="2000" b="1" u="sng" dirty="0" smtClean="0"/>
              <a:t>SPECIAL NON-CONTRIBUTORY CASH BENEFITS:</a:t>
            </a:r>
          </a:p>
          <a:p>
            <a:pPr marL="0" indent="0">
              <a:spcBef>
                <a:spcPts val="0"/>
              </a:spcBef>
              <a:buNone/>
            </a:pPr>
            <a:r>
              <a:rPr lang="zh-CN" altLang="en-US" sz="2000" b="1" u="sng" dirty="0" smtClean="0"/>
              <a:t>特殊非缴费型现金福利</a:t>
            </a:r>
            <a:endParaRPr lang="es-ES" sz="2000" b="1" u="sng" dirty="0" smtClean="0"/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endParaRPr lang="es-ES" b="1" dirty="0" smtClean="0"/>
          </a:p>
          <a:p>
            <a:pPr marL="0" indent="0" algn="just">
              <a:lnSpc>
                <a:spcPct val="150000"/>
              </a:lnSpc>
              <a:spcBef>
                <a:spcPts val="0"/>
              </a:spcBef>
              <a:buNone/>
            </a:pPr>
            <a:endParaRPr lang="en-US" sz="2400" dirty="0"/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endParaRPr lang="es-ES" sz="2400" dirty="0"/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endParaRPr lang="en-US" sz="2400" dirty="0" smtClean="0"/>
          </a:p>
        </p:txBody>
      </p:sp>
      <p:sp>
        <p:nvSpPr>
          <p:cNvPr id="4" name="3 Rectángulo"/>
          <p:cNvSpPr/>
          <p:nvPr/>
        </p:nvSpPr>
        <p:spPr>
          <a:xfrm>
            <a:off x="1269500" y="1744120"/>
            <a:ext cx="1761390" cy="457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400" dirty="0" smtClean="0">
                <a:solidFill>
                  <a:schemeClr val="tx1"/>
                </a:solidFill>
                <a:latin typeface="Optane"/>
              </a:rPr>
              <a:t>Intented to provide</a:t>
            </a:r>
          </a:p>
          <a:p>
            <a:r>
              <a:rPr lang="zh-CN" altLang="en-US" sz="1400" dirty="0" smtClean="0">
                <a:solidFill>
                  <a:schemeClr val="tx1"/>
                </a:solidFill>
                <a:latin typeface="Optane"/>
              </a:rPr>
              <a:t>目的是提供：</a:t>
            </a:r>
            <a:endParaRPr lang="es-ES" sz="1400" dirty="0">
              <a:solidFill>
                <a:schemeClr val="tx1"/>
              </a:solidFill>
              <a:latin typeface="Optane"/>
            </a:endParaRPr>
          </a:p>
        </p:txBody>
      </p:sp>
      <p:sp>
        <p:nvSpPr>
          <p:cNvPr id="5" name="4 Rectángulo"/>
          <p:cNvSpPr/>
          <p:nvPr/>
        </p:nvSpPr>
        <p:spPr>
          <a:xfrm>
            <a:off x="3286660" y="1262577"/>
            <a:ext cx="5904820" cy="6807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1600" dirty="0">
                <a:solidFill>
                  <a:schemeClr val="tx1"/>
                </a:solidFill>
                <a:latin typeface="Optane"/>
              </a:rPr>
              <a:t>supplementary cover  + guarantee of a minimum </a:t>
            </a:r>
            <a:r>
              <a:rPr lang="en-US" sz="1600" dirty="0" smtClean="0">
                <a:solidFill>
                  <a:schemeClr val="tx1"/>
                </a:solidFill>
                <a:latin typeface="Optane"/>
              </a:rPr>
              <a:t>subsistence </a:t>
            </a:r>
            <a:r>
              <a:rPr lang="zh-CN" altLang="en-US" sz="1600" dirty="0" smtClean="0">
                <a:solidFill>
                  <a:schemeClr val="tx1"/>
                </a:solidFill>
                <a:latin typeface="Optane"/>
              </a:rPr>
              <a:t>补充保险</a:t>
            </a:r>
            <a:r>
              <a:rPr lang="en-US" altLang="zh-CN" sz="1600" dirty="0" smtClean="0">
                <a:solidFill>
                  <a:schemeClr val="tx1"/>
                </a:solidFill>
                <a:latin typeface="Optane"/>
              </a:rPr>
              <a:t>+</a:t>
            </a:r>
            <a:r>
              <a:rPr lang="zh-CN" altLang="en-US" sz="1600" dirty="0" smtClean="0">
                <a:solidFill>
                  <a:schemeClr val="tx1"/>
                </a:solidFill>
                <a:latin typeface="Optane"/>
              </a:rPr>
              <a:t>保证最低生活费</a:t>
            </a:r>
            <a:endParaRPr lang="en-US" sz="1600" dirty="0" smtClean="0">
              <a:solidFill>
                <a:schemeClr val="tx1"/>
              </a:solidFill>
              <a:latin typeface="Optane"/>
            </a:endParaRPr>
          </a:p>
        </p:txBody>
      </p:sp>
      <p:sp>
        <p:nvSpPr>
          <p:cNvPr id="6" name="5 Rectángulo"/>
          <p:cNvSpPr/>
          <p:nvPr/>
        </p:nvSpPr>
        <p:spPr>
          <a:xfrm>
            <a:off x="3304240" y="2074100"/>
            <a:ext cx="5904820" cy="6348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en-US" sz="1600" dirty="0" smtClean="0">
              <a:solidFill>
                <a:schemeClr val="tx1"/>
              </a:solidFill>
              <a:latin typeface="Optane"/>
            </a:endParaRPr>
          </a:p>
          <a:p>
            <a:pPr algn="just"/>
            <a:r>
              <a:rPr lang="en-US" sz="1600" dirty="0" smtClean="0">
                <a:solidFill>
                  <a:schemeClr val="tx1"/>
                </a:solidFill>
                <a:latin typeface="Optane"/>
              </a:rPr>
              <a:t>specific </a:t>
            </a:r>
            <a:r>
              <a:rPr lang="en-US" sz="1600" dirty="0">
                <a:solidFill>
                  <a:schemeClr val="tx1"/>
                </a:solidFill>
                <a:latin typeface="Optane"/>
              </a:rPr>
              <a:t>protection for the </a:t>
            </a:r>
            <a:r>
              <a:rPr lang="en-US" sz="1600" dirty="0" smtClean="0">
                <a:solidFill>
                  <a:schemeClr val="tx1"/>
                </a:solidFill>
                <a:latin typeface="Optane"/>
              </a:rPr>
              <a:t>disabled</a:t>
            </a:r>
          </a:p>
          <a:p>
            <a:pPr algn="just"/>
            <a:r>
              <a:rPr lang="zh-CN" altLang="en-US" sz="1600" dirty="0" smtClean="0">
                <a:solidFill>
                  <a:schemeClr val="tx1"/>
                </a:solidFill>
                <a:latin typeface="Optane"/>
              </a:rPr>
              <a:t>残疾人特别保障</a:t>
            </a:r>
            <a:endParaRPr lang="en-US" sz="1600" dirty="0" smtClean="0">
              <a:solidFill>
                <a:schemeClr val="tx1"/>
              </a:solidFill>
              <a:latin typeface="Optane"/>
            </a:endParaRPr>
          </a:p>
          <a:p>
            <a:pPr algn="just"/>
            <a:endParaRPr lang="en-US" sz="1600" dirty="0" smtClean="0">
              <a:solidFill>
                <a:schemeClr val="tx1"/>
              </a:solidFill>
              <a:latin typeface="Optane"/>
            </a:endParaRPr>
          </a:p>
          <a:p>
            <a:pPr algn="just"/>
            <a:endParaRPr lang="es-ES" sz="1600" dirty="0">
              <a:solidFill>
                <a:schemeClr val="tx1"/>
              </a:solidFill>
              <a:latin typeface="Optane"/>
            </a:endParaRPr>
          </a:p>
        </p:txBody>
      </p:sp>
      <p:sp>
        <p:nvSpPr>
          <p:cNvPr id="7" name="6 Rectángulo"/>
          <p:cNvSpPr/>
          <p:nvPr/>
        </p:nvSpPr>
        <p:spPr>
          <a:xfrm>
            <a:off x="1288615" y="2886830"/>
            <a:ext cx="7883750" cy="64809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dirty="0">
                <a:solidFill>
                  <a:schemeClr val="tx1"/>
                </a:solidFill>
                <a:latin typeface="Optane"/>
              </a:rPr>
              <a:t>F</a:t>
            </a:r>
            <a:r>
              <a:rPr lang="en-US" dirty="0" smtClean="0">
                <a:solidFill>
                  <a:schemeClr val="tx1"/>
                </a:solidFill>
                <a:latin typeface="Optane"/>
              </a:rPr>
              <a:t>inanced from </a:t>
            </a:r>
            <a:r>
              <a:rPr lang="en-US" dirty="0">
                <a:solidFill>
                  <a:schemeClr val="tx1"/>
                </a:solidFill>
                <a:latin typeface="Optane"/>
              </a:rPr>
              <a:t>compulsory taxation </a:t>
            </a:r>
            <a:r>
              <a:rPr lang="en-US" dirty="0" smtClean="0">
                <a:solidFill>
                  <a:schemeClr val="tx1"/>
                </a:solidFill>
                <a:latin typeface="Optane"/>
              </a:rPr>
              <a:t>+ not </a:t>
            </a:r>
            <a:r>
              <a:rPr lang="en-US" dirty="0">
                <a:solidFill>
                  <a:schemeClr val="tx1"/>
                </a:solidFill>
                <a:latin typeface="Optane"/>
              </a:rPr>
              <a:t>dependent on any </a:t>
            </a:r>
            <a:r>
              <a:rPr lang="en-US" dirty="0" smtClean="0">
                <a:solidFill>
                  <a:schemeClr val="tx1"/>
                </a:solidFill>
                <a:latin typeface="Optane"/>
              </a:rPr>
              <a:t>contribution</a:t>
            </a:r>
          </a:p>
          <a:p>
            <a:pPr algn="just"/>
            <a:r>
              <a:rPr lang="zh-CN" altLang="en-US" dirty="0" smtClean="0">
                <a:solidFill>
                  <a:schemeClr val="tx1"/>
                </a:solidFill>
                <a:latin typeface="Optane"/>
              </a:rPr>
              <a:t>从强制性税收</a:t>
            </a:r>
            <a:r>
              <a:rPr lang="en-US" altLang="zh-CN" dirty="0" smtClean="0">
                <a:solidFill>
                  <a:schemeClr val="tx1"/>
                </a:solidFill>
                <a:latin typeface="Optane"/>
              </a:rPr>
              <a:t>+</a:t>
            </a:r>
            <a:r>
              <a:rPr lang="zh-CN" altLang="en-US" dirty="0" smtClean="0">
                <a:solidFill>
                  <a:schemeClr val="tx1"/>
                </a:solidFill>
                <a:latin typeface="Optane"/>
              </a:rPr>
              <a:t>不依赖于任何保险贡献额</a:t>
            </a:r>
            <a:endParaRPr lang="en-US" dirty="0" smtClean="0">
              <a:solidFill>
                <a:schemeClr val="tx1"/>
              </a:solidFill>
              <a:latin typeface="Optane"/>
            </a:endParaRPr>
          </a:p>
        </p:txBody>
      </p:sp>
      <p:sp>
        <p:nvSpPr>
          <p:cNvPr id="8" name="7 Rectángulo"/>
          <p:cNvSpPr/>
          <p:nvPr/>
        </p:nvSpPr>
        <p:spPr>
          <a:xfrm>
            <a:off x="1288615" y="3645030"/>
            <a:ext cx="7921980" cy="576080"/>
          </a:xfrm>
          <a:prstGeom prst="rect">
            <a:avLst/>
          </a:prstGeom>
          <a:solidFill>
            <a:srgbClr val="FFCC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ES" sz="2000" dirty="0" smtClean="0">
                <a:solidFill>
                  <a:schemeClr val="tx1"/>
                </a:solidFill>
                <a:latin typeface="Optane"/>
              </a:rPr>
              <a:t>Listed in </a:t>
            </a:r>
            <a:r>
              <a:rPr lang="es-ES" sz="2000" dirty="0" err="1" smtClean="0">
                <a:solidFill>
                  <a:schemeClr val="tx1"/>
                </a:solidFill>
                <a:latin typeface="Optane"/>
              </a:rPr>
              <a:t>Annex</a:t>
            </a:r>
            <a:r>
              <a:rPr lang="es-ES" sz="2000" dirty="0" smtClean="0">
                <a:solidFill>
                  <a:schemeClr val="tx1"/>
                </a:solidFill>
                <a:latin typeface="Optane"/>
              </a:rPr>
              <a:t> X</a:t>
            </a:r>
            <a:r>
              <a:rPr lang="zh-CN" altLang="en-US" sz="2000" dirty="0" smtClean="0">
                <a:solidFill>
                  <a:schemeClr val="tx1"/>
                </a:solidFill>
                <a:latin typeface="Optane"/>
              </a:rPr>
              <a:t> </a:t>
            </a:r>
            <a:endParaRPr lang="en-US" altLang="zh-CN" sz="2000" dirty="0" smtClean="0">
              <a:solidFill>
                <a:schemeClr val="tx1"/>
              </a:solidFill>
              <a:latin typeface="Optane"/>
            </a:endParaRPr>
          </a:p>
          <a:p>
            <a:pPr algn="just"/>
            <a:r>
              <a:rPr lang="zh-CN" altLang="en-US" sz="2000" dirty="0" smtClean="0">
                <a:solidFill>
                  <a:schemeClr val="tx1"/>
                </a:solidFill>
                <a:latin typeface="Optane"/>
              </a:rPr>
              <a:t>在附件</a:t>
            </a:r>
            <a:r>
              <a:rPr lang="en-US" altLang="zh-CN" sz="2000" dirty="0" smtClean="0">
                <a:solidFill>
                  <a:schemeClr val="tx1"/>
                </a:solidFill>
                <a:latin typeface="Optane"/>
              </a:rPr>
              <a:t>10</a:t>
            </a:r>
            <a:r>
              <a:rPr lang="zh-CN" altLang="en-US" sz="2000" dirty="0" smtClean="0">
                <a:solidFill>
                  <a:schemeClr val="tx1"/>
                </a:solidFill>
                <a:latin typeface="Optane"/>
              </a:rPr>
              <a:t>里已列出</a:t>
            </a:r>
            <a:endParaRPr lang="es-ES" sz="2000" dirty="0">
              <a:solidFill>
                <a:schemeClr val="tx1"/>
              </a:solidFill>
              <a:latin typeface="Optane"/>
            </a:endParaRPr>
          </a:p>
        </p:txBody>
      </p:sp>
      <p:sp>
        <p:nvSpPr>
          <p:cNvPr id="9" name="8 Flecha derecha"/>
          <p:cNvSpPr/>
          <p:nvPr/>
        </p:nvSpPr>
        <p:spPr>
          <a:xfrm>
            <a:off x="507116" y="1744120"/>
            <a:ext cx="527876" cy="3994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9 Flecha derecha"/>
          <p:cNvSpPr/>
          <p:nvPr/>
        </p:nvSpPr>
        <p:spPr>
          <a:xfrm>
            <a:off x="542616" y="3030850"/>
            <a:ext cx="527876" cy="36005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10 Flecha derecha"/>
          <p:cNvSpPr/>
          <p:nvPr/>
        </p:nvSpPr>
        <p:spPr>
          <a:xfrm>
            <a:off x="542616" y="3645030"/>
            <a:ext cx="527876" cy="36005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cxnSp>
        <p:nvCxnSpPr>
          <p:cNvPr id="13" name="12 Conector recto de flecha"/>
          <p:cNvCxnSpPr/>
          <p:nvPr/>
        </p:nvCxnSpPr>
        <p:spPr>
          <a:xfrm flipV="1">
            <a:off x="3030890" y="1744120"/>
            <a:ext cx="255770" cy="228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4 Conector recto de flecha"/>
          <p:cNvCxnSpPr>
            <a:stCxn id="4" idx="3"/>
          </p:cNvCxnSpPr>
          <p:nvPr/>
        </p:nvCxnSpPr>
        <p:spPr>
          <a:xfrm>
            <a:off x="3030890" y="1972720"/>
            <a:ext cx="255770" cy="4021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20 Rectángulo"/>
          <p:cNvSpPr/>
          <p:nvPr/>
        </p:nvSpPr>
        <p:spPr>
          <a:xfrm>
            <a:off x="507116" y="4365130"/>
            <a:ext cx="8694473" cy="194427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Bef>
                <a:spcPts val="0"/>
              </a:spcBef>
              <a:spcAft>
                <a:spcPts val="0"/>
              </a:spcAft>
            </a:pPr>
            <a:r>
              <a:rPr lang="es-ES" sz="1600" b="1" dirty="0" smtClean="0">
                <a:solidFill>
                  <a:schemeClr val="tx1"/>
                </a:solidFill>
                <a:latin typeface="Optane"/>
              </a:rPr>
              <a:t>SPANISH BENEFITS LISTED IN ANNEX X</a:t>
            </a:r>
            <a:r>
              <a:rPr lang="es-ES" sz="1600" dirty="0" smtClean="0">
                <a:solidFill>
                  <a:schemeClr val="tx1"/>
                </a:solidFill>
                <a:latin typeface="Optane"/>
              </a:rPr>
              <a:t>:</a:t>
            </a:r>
            <a:r>
              <a:rPr lang="zh-CN" altLang="en-US" sz="1600" dirty="0" smtClean="0">
                <a:solidFill>
                  <a:schemeClr val="tx1"/>
                </a:solidFill>
                <a:latin typeface="Optane"/>
              </a:rPr>
              <a:t> 在附件</a:t>
            </a:r>
            <a:r>
              <a:rPr lang="en-US" altLang="zh-CN" sz="1600" dirty="0" smtClean="0">
                <a:solidFill>
                  <a:schemeClr val="tx1"/>
                </a:solidFill>
                <a:latin typeface="Optane"/>
              </a:rPr>
              <a:t>10</a:t>
            </a:r>
            <a:r>
              <a:rPr lang="zh-CN" altLang="en-US" sz="1600" dirty="0" smtClean="0">
                <a:solidFill>
                  <a:schemeClr val="tx1"/>
                </a:solidFill>
                <a:latin typeface="Optane"/>
              </a:rPr>
              <a:t>里已列出的特殊福利：</a:t>
            </a:r>
            <a:endParaRPr lang="es-ES" sz="1600" dirty="0" smtClean="0">
              <a:solidFill>
                <a:schemeClr val="tx1"/>
              </a:solidFill>
              <a:latin typeface="Optane"/>
            </a:endParaRPr>
          </a:p>
          <a:p>
            <a:pPr marL="144145" lvl="0" indent="-342900" fontAlgn="auto">
              <a:spcBef>
                <a:spcPts val="0"/>
              </a:spcBef>
              <a:spcAft>
                <a:spcPts val="0"/>
              </a:spcAft>
              <a:buSzPct val="75000"/>
              <a:buFont typeface="Wingdings" pitchFamily="2" charset="2"/>
              <a:buChar char="§"/>
            </a:pPr>
            <a:r>
              <a:rPr lang="en-US" sz="1600" dirty="0" smtClean="0">
                <a:solidFill>
                  <a:prstClr val="black"/>
                </a:solidFill>
                <a:latin typeface="Optane"/>
              </a:rPr>
              <a:t>Minimum </a:t>
            </a:r>
            <a:r>
              <a:rPr lang="en-US" sz="1600" dirty="0">
                <a:solidFill>
                  <a:prstClr val="black"/>
                </a:solidFill>
                <a:latin typeface="Optane"/>
              </a:rPr>
              <a:t>income guarantee </a:t>
            </a:r>
            <a:r>
              <a:rPr lang="zh-CN" altLang="en-US" sz="1600" dirty="0">
                <a:solidFill>
                  <a:prstClr val="black"/>
                </a:solidFill>
                <a:latin typeface="Optane"/>
              </a:rPr>
              <a:t> </a:t>
            </a:r>
            <a:r>
              <a:rPr lang="zh-CN" altLang="en-US" sz="1600" dirty="0" smtClean="0">
                <a:solidFill>
                  <a:prstClr val="black"/>
                </a:solidFill>
                <a:latin typeface="Optane"/>
              </a:rPr>
              <a:t>最低收入保证</a:t>
            </a:r>
            <a:endParaRPr lang="en-US" sz="1600" dirty="0">
              <a:solidFill>
                <a:prstClr val="black"/>
              </a:solidFill>
              <a:latin typeface="Optane"/>
            </a:endParaRPr>
          </a:p>
          <a:p>
            <a:pPr marL="342900" lvl="0" indent="-342900" fontAlgn="auto">
              <a:spcBef>
                <a:spcPts val="0"/>
              </a:spcBef>
              <a:spcAft>
                <a:spcPts val="0"/>
              </a:spcAft>
              <a:buSzPct val="75000"/>
              <a:buFont typeface="Wingdings" pitchFamily="2" charset="2"/>
              <a:buChar char="§"/>
            </a:pPr>
            <a:r>
              <a:rPr lang="en-US" sz="1600" dirty="0">
                <a:solidFill>
                  <a:prstClr val="black"/>
                </a:solidFill>
                <a:latin typeface="Optane"/>
              </a:rPr>
              <a:t>Cash benefits to assist the elderly and invalids unable to work </a:t>
            </a:r>
            <a:r>
              <a:rPr lang="zh-CN" altLang="en-US" sz="1600" dirty="0">
                <a:solidFill>
                  <a:prstClr val="black"/>
                </a:solidFill>
                <a:latin typeface="Optane"/>
              </a:rPr>
              <a:t> </a:t>
            </a:r>
            <a:endParaRPr lang="en-US" altLang="zh-CN" sz="1600" dirty="0" smtClean="0">
              <a:solidFill>
                <a:prstClr val="black"/>
              </a:solidFill>
              <a:latin typeface="Optane"/>
            </a:endParaRPr>
          </a:p>
          <a:p>
            <a:pPr marL="342900" lvl="0" indent="-342900" fontAlgn="auto">
              <a:spcBef>
                <a:spcPts val="0"/>
              </a:spcBef>
              <a:spcAft>
                <a:spcPts val="0"/>
              </a:spcAft>
              <a:buSzPct val="75000"/>
              <a:buFont typeface="Wingdings" pitchFamily="2" charset="2"/>
              <a:buChar char="§"/>
            </a:pPr>
            <a:r>
              <a:rPr lang="zh-CN" altLang="en-US" sz="1600" dirty="0" smtClean="0">
                <a:solidFill>
                  <a:prstClr val="black"/>
                </a:solidFill>
                <a:latin typeface="Optane"/>
              </a:rPr>
              <a:t>帮助老年人和无工作能力人的现金补助</a:t>
            </a:r>
            <a:endParaRPr lang="en-US" sz="1600" dirty="0">
              <a:solidFill>
                <a:prstClr val="black"/>
              </a:solidFill>
              <a:latin typeface="Optane"/>
            </a:endParaRPr>
          </a:p>
          <a:p>
            <a:pPr marL="342900" lvl="0" indent="-342900" fontAlgn="auto">
              <a:spcBef>
                <a:spcPts val="0"/>
              </a:spcBef>
              <a:spcAft>
                <a:spcPts val="0"/>
              </a:spcAft>
              <a:buSzPct val="75000"/>
              <a:buFont typeface="Wingdings" pitchFamily="2" charset="2"/>
              <a:buChar char="§"/>
            </a:pPr>
            <a:r>
              <a:rPr lang="en-US" sz="1600" dirty="0">
                <a:solidFill>
                  <a:prstClr val="black"/>
                </a:solidFill>
                <a:latin typeface="Optane"/>
              </a:rPr>
              <a:t>Non-contributory invalidity and retirement pensions + benefits which supplement </a:t>
            </a:r>
            <a:r>
              <a:rPr lang="en-US" sz="1600" dirty="0" smtClean="0">
                <a:solidFill>
                  <a:prstClr val="black"/>
                </a:solidFill>
                <a:latin typeface="Optane"/>
              </a:rPr>
              <a:t>them</a:t>
            </a:r>
            <a:r>
              <a:rPr lang="zh-CN" altLang="en-US" sz="1600" dirty="0" smtClean="0">
                <a:solidFill>
                  <a:prstClr val="black"/>
                </a:solidFill>
                <a:latin typeface="Optane"/>
              </a:rPr>
              <a:t> </a:t>
            </a:r>
            <a:endParaRPr lang="en-US" altLang="zh-CN" sz="1600" dirty="0" smtClean="0">
              <a:solidFill>
                <a:prstClr val="black"/>
              </a:solidFill>
              <a:latin typeface="Optane"/>
            </a:endParaRPr>
          </a:p>
          <a:p>
            <a:pPr marL="342900" lvl="0" indent="-342900" fontAlgn="auto">
              <a:spcBef>
                <a:spcPts val="0"/>
              </a:spcBef>
              <a:spcAft>
                <a:spcPts val="0"/>
              </a:spcAft>
              <a:buSzPct val="75000"/>
              <a:buFont typeface="Wingdings" pitchFamily="2" charset="2"/>
              <a:buChar char="§"/>
            </a:pPr>
            <a:r>
              <a:rPr lang="zh-CN" altLang="en-US" sz="1600" dirty="0" smtClean="0">
                <a:solidFill>
                  <a:prstClr val="black"/>
                </a:solidFill>
                <a:latin typeface="Optane"/>
              </a:rPr>
              <a:t>非缴费型无能力和退休养老金</a:t>
            </a:r>
            <a:r>
              <a:rPr lang="en-US" altLang="zh-CN" sz="1600" dirty="0" smtClean="0">
                <a:solidFill>
                  <a:prstClr val="black"/>
                </a:solidFill>
                <a:latin typeface="Optane"/>
              </a:rPr>
              <a:t>+</a:t>
            </a:r>
            <a:r>
              <a:rPr lang="zh-CN" altLang="en-US" sz="1600" dirty="0" smtClean="0">
                <a:solidFill>
                  <a:prstClr val="black"/>
                </a:solidFill>
                <a:latin typeface="Optane"/>
              </a:rPr>
              <a:t>补充福利</a:t>
            </a:r>
            <a:endParaRPr lang="en-US" sz="1600" dirty="0" smtClean="0">
              <a:solidFill>
                <a:prstClr val="black"/>
              </a:solidFill>
              <a:latin typeface="Optane"/>
            </a:endParaRPr>
          </a:p>
          <a:p>
            <a:pPr marL="342900" lvl="0" indent="-342900" fontAlgn="auto">
              <a:spcBef>
                <a:spcPts val="0"/>
              </a:spcBef>
              <a:spcAft>
                <a:spcPts val="0"/>
              </a:spcAft>
              <a:buSzPct val="75000"/>
              <a:buFont typeface="Wingdings" pitchFamily="2" charset="2"/>
              <a:buChar char="§"/>
            </a:pPr>
            <a:r>
              <a:rPr lang="en-US" sz="1600" dirty="0" smtClean="0">
                <a:solidFill>
                  <a:prstClr val="black"/>
                </a:solidFill>
                <a:latin typeface="Optane"/>
              </a:rPr>
              <a:t>Allowances </a:t>
            </a:r>
            <a:r>
              <a:rPr lang="en-US" sz="1600" dirty="0">
                <a:solidFill>
                  <a:prstClr val="black"/>
                </a:solidFill>
                <a:latin typeface="Optane"/>
              </a:rPr>
              <a:t>to promote mobility and to compensate for transport </a:t>
            </a:r>
            <a:r>
              <a:rPr lang="en-US" sz="1600" dirty="0" smtClean="0">
                <a:solidFill>
                  <a:prstClr val="black"/>
                </a:solidFill>
                <a:latin typeface="Optane"/>
              </a:rPr>
              <a:t>costs</a:t>
            </a:r>
            <a:r>
              <a:rPr lang="zh-CN" altLang="en-US" sz="1600" dirty="0" smtClean="0">
                <a:solidFill>
                  <a:prstClr val="black"/>
                </a:solidFill>
                <a:latin typeface="Optane"/>
              </a:rPr>
              <a:t> </a:t>
            </a:r>
            <a:endParaRPr lang="en-US" altLang="zh-CN" sz="1600" dirty="0" smtClean="0">
              <a:solidFill>
                <a:prstClr val="black"/>
              </a:solidFill>
              <a:latin typeface="Optane"/>
            </a:endParaRPr>
          </a:p>
          <a:p>
            <a:pPr marL="342900" lvl="0" indent="-342900" fontAlgn="auto">
              <a:spcBef>
                <a:spcPts val="0"/>
              </a:spcBef>
              <a:spcAft>
                <a:spcPts val="0"/>
              </a:spcAft>
              <a:buSzPct val="75000"/>
              <a:buFont typeface="Wingdings" pitchFamily="2" charset="2"/>
              <a:buChar char="§"/>
            </a:pPr>
            <a:r>
              <a:rPr lang="zh-CN" altLang="en-US" sz="1600" dirty="0" smtClean="0">
                <a:solidFill>
                  <a:prstClr val="black"/>
                </a:solidFill>
                <a:latin typeface="Optane"/>
              </a:rPr>
              <a:t>促进移动补贴及交通补贴</a:t>
            </a:r>
            <a:endParaRPr lang="en-US" sz="1600" dirty="0" smtClean="0">
              <a:solidFill>
                <a:prstClr val="black"/>
              </a:solidFill>
              <a:latin typeface="Optane"/>
            </a:endParaRPr>
          </a:p>
        </p:txBody>
      </p:sp>
      <p:pic>
        <p:nvPicPr>
          <p:cNvPr id="1714181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5510" y="4509150"/>
            <a:ext cx="808112" cy="792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15 Señal de prohibido"/>
          <p:cNvSpPr/>
          <p:nvPr/>
        </p:nvSpPr>
        <p:spPr>
          <a:xfrm>
            <a:off x="8697520" y="4437140"/>
            <a:ext cx="720100" cy="720100"/>
          </a:xfrm>
          <a:prstGeom prst="noSmoking">
            <a:avLst>
              <a:gd name="adj" fmla="val 14558"/>
            </a:avLst>
          </a:prstGeom>
          <a:pattFill prst="ltDnDiag">
            <a:fgClr>
              <a:srgbClr val="FF0000"/>
            </a:fgClr>
            <a:bgClr>
              <a:schemeClr val="bg1"/>
            </a:bgClr>
          </a:patt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INTERPRETATION: THE EUROPEAN COURT OF JUSTICE</a:t>
            </a:r>
            <a:br>
              <a:rPr lang="es-ES" dirty="0" smtClean="0"/>
            </a:br>
            <a:r>
              <a:rPr lang="zh-CN" altLang="en-US" dirty="0" smtClean="0"/>
              <a:t>解释：欧洲法院</a:t>
            </a:r>
            <a:endParaRPr lang="es-ES" dirty="0"/>
          </a:p>
        </p:txBody>
      </p:sp>
      <p:graphicFrame>
        <p:nvGraphicFramePr>
          <p:cNvPr id="6" name="5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7618666"/>
              </p:ext>
            </p:extLst>
          </p:nvPr>
        </p:nvGraphicFramePr>
        <p:xfrm>
          <a:off x="415925" y="981075"/>
          <a:ext cx="8994775" cy="51450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1" name="10 Diagrama"/>
          <p:cNvGraphicFramePr/>
          <p:nvPr>
            <p:extLst>
              <p:ext uri="{D42A27DB-BD31-4B8C-83A1-F6EECF244321}">
                <p14:modId xmlns:p14="http://schemas.microsoft.com/office/powerpoint/2010/main" val="3694048991"/>
              </p:ext>
            </p:extLst>
          </p:nvPr>
        </p:nvGraphicFramePr>
        <p:xfrm>
          <a:off x="6249180" y="3491290"/>
          <a:ext cx="3168440" cy="25300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2" name="11 Flecha derecha"/>
          <p:cNvSpPr/>
          <p:nvPr/>
        </p:nvSpPr>
        <p:spPr>
          <a:xfrm>
            <a:off x="5817120" y="4437140"/>
            <a:ext cx="648090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4360" y="3013960"/>
            <a:ext cx="1190488" cy="1296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14 Imagen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9180" y="1268700"/>
            <a:ext cx="2928665" cy="1906793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/>
              <a:t>INTERPRETATION: THE </a:t>
            </a:r>
            <a:r>
              <a:rPr lang="es-ES" dirty="0" smtClean="0"/>
              <a:t>ADMINISTRATIVE COMMISSION</a:t>
            </a:r>
            <a:br>
              <a:rPr lang="es-ES" dirty="0" smtClean="0"/>
            </a:br>
            <a:r>
              <a:rPr lang="zh-CN" altLang="en-US" dirty="0" smtClean="0"/>
              <a:t>解释：</a:t>
            </a:r>
            <a:r>
              <a:rPr lang="zh-CN" altLang="en-US" dirty="0"/>
              <a:t>行政委员会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16370" y="908650"/>
            <a:ext cx="8994330" cy="5217517"/>
          </a:xfrm>
        </p:spPr>
        <p:txBody>
          <a:bodyPr>
            <a:normAutofit/>
          </a:bodyPr>
          <a:lstStyle/>
          <a:p>
            <a:r>
              <a:rPr lang="en-US" sz="1800" b="1" dirty="0" smtClean="0"/>
              <a:t>The Administrative Commission for the Coordination of Social </a:t>
            </a:r>
            <a:r>
              <a:rPr lang="es-ES" sz="1800" b="1" dirty="0" smtClean="0"/>
              <a:t>Security Systems</a:t>
            </a:r>
          </a:p>
          <a:p>
            <a:r>
              <a:rPr lang="zh-CN" altLang="en-US" sz="1800" b="1" dirty="0"/>
              <a:t>社</a:t>
            </a:r>
            <a:r>
              <a:rPr lang="zh-CN" altLang="en-US" sz="1800" b="1" dirty="0" smtClean="0"/>
              <a:t>保体系协调行政委员会</a:t>
            </a:r>
            <a:endParaRPr lang="es-ES" sz="1800" b="1" dirty="0" smtClean="0"/>
          </a:p>
          <a:p>
            <a:pPr marL="0" indent="0">
              <a:buNone/>
            </a:pPr>
            <a:endParaRPr lang="es-ES" sz="2800" b="1" dirty="0" smtClean="0"/>
          </a:p>
          <a:p>
            <a:pPr lvl="0"/>
            <a:endParaRPr lang="es-ES" sz="1800" dirty="0"/>
          </a:p>
          <a:p>
            <a:endParaRPr lang="es-ES" sz="2800" dirty="0"/>
          </a:p>
        </p:txBody>
      </p:sp>
      <p:graphicFrame>
        <p:nvGraphicFramePr>
          <p:cNvPr id="4" name="3 Diagrama"/>
          <p:cNvGraphicFramePr/>
          <p:nvPr>
            <p:extLst>
              <p:ext uri="{D42A27DB-BD31-4B8C-83A1-F6EECF244321}">
                <p14:modId xmlns:p14="http://schemas.microsoft.com/office/powerpoint/2010/main" val="3260199739"/>
              </p:ext>
            </p:extLst>
          </p:nvPr>
        </p:nvGraphicFramePr>
        <p:xfrm>
          <a:off x="848430" y="1556740"/>
          <a:ext cx="8353160" cy="45366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6 Llamada ovalada"/>
          <p:cNvSpPr/>
          <p:nvPr/>
        </p:nvSpPr>
        <p:spPr>
          <a:xfrm>
            <a:off x="7401340" y="4941210"/>
            <a:ext cx="1728240" cy="1224170"/>
          </a:xfrm>
          <a:prstGeom prst="wedgeEllipseCallout">
            <a:avLst>
              <a:gd name="adj1" fmla="val -101083"/>
              <a:gd name="adj2" fmla="val -20012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 dirty="0" smtClean="0">
                <a:solidFill>
                  <a:srgbClr val="FF0000"/>
                </a:solidFill>
                <a:latin typeface="Optane"/>
              </a:rPr>
              <a:t>DECISIONS  OF THE AC</a:t>
            </a:r>
          </a:p>
          <a:p>
            <a:pPr algn="ctr"/>
            <a:r>
              <a:rPr lang="es-ES" sz="1400" b="1" dirty="0">
                <a:solidFill>
                  <a:srgbClr val="FF0000"/>
                </a:solidFill>
                <a:latin typeface="Optane"/>
              </a:rPr>
              <a:t>AC</a:t>
            </a:r>
            <a:r>
              <a:rPr lang="zh-CN" altLang="en-US" sz="1400" b="1" dirty="0">
                <a:solidFill>
                  <a:srgbClr val="FF0000"/>
                </a:solidFill>
                <a:latin typeface="Optane"/>
              </a:rPr>
              <a:t>决定</a:t>
            </a:r>
            <a:endParaRPr lang="es-ES" sz="1400" b="1" dirty="0">
              <a:solidFill>
                <a:srgbClr val="FF0000"/>
              </a:solidFill>
              <a:latin typeface="Optane"/>
            </a:endParaRPr>
          </a:p>
        </p:txBody>
      </p:sp>
      <p:pic>
        <p:nvPicPr>
          <p:cNvPr id="1715205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8830" y="3140960"/>
            <a:ext cx="2800248" cy="11163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oordination of the different Social Security systems in the </a:t>
            </a:r>
            <a:r>
              <a:rPr lang="en-GB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U</a:t>
            </a:r>
            <a:br>
              <a:rPr lang="en-GB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zh-CN" alt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欧盟不同社保体系之间的协调</a:t>
            </a:r>
            <a:endParaRPr lang="es-ES" dirty="0"/>
          </a:p>
        </p:txBody>
      </p:sp>
      <p:sp>
        <p:nvSpPr>
          <p:cNvPr id="7" name="6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endParaRPr lang="es-ES" sz="2400" dirty="0" smtClean="0"/>
          </a:p>
          <a:p>
            <a:pPr marL="0" indent="0" algn="ctr">
              <a:buNone/>
            </a:pPr>
            <a:r>
              <a:rPr lang="es-ES" sz="2400" dirty="0" smtClean="0"/>
              <a:t>THANK YOU</a:t>
            </a:r>
          </a:p>
          <a:p>
            <a:pPr marL="0" indent="0" algn="ctr">
              <a:buNone/>
            </a:pPr>
            <a:r>
              <a:rPr lang="zh-CN" altLang="en-US" sz="2400" dirty="0" smtClean="0"/>
              <a:t>感谢聆听！</a:t>
            </a:r>
            <a:endParaRPr lang="es-ES" sz="2400" dirty="0" smtClean="0"/>
          </a:p>
          <a:p>
            <a:pPr marL="0" indent="0" algn="ctr">
              <a:buNone/>
            </a:pPr>
            <a:r>
              <a:rPr lang="es-ES" sz="2400" dirty="0" smtClean="0"/>
              <a:t>FOR YOUR ATTENTION!</a:t>
            </a:r>
          </a:p>
        </p:txBody>
      </p:sp>
      <p:pic>
        <p:nvPicPr>
          <p:cNvPr id="8" name="7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3872" y="2717487"/>
            <a:ext cx="2143125" cy="2143125"/>
          </a:xfrm>
          <a:prstGeom prst="rect">
            <a:avLst/>
          </a:prstGeom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sz="31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oordination of the different Social Security systems in the </a:t>
            </a:r>
            <a:r>
              <a:rPr lang="en-GB" sz="31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U </a:t>
            </a:r>
            <a:r>
              <a:rPr lang="zh-CN" altLang="en-US" sz="2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欧盟不同社</a:t>
            </a:r>
            <a:r>
              <a:rPr lang="zh-CN" altLang="en-US" sz="28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保体系之间的协调</a:t>
            </a:r>
            <a:r>
              <a:rPr lang="en-GB" dirty="0">
                <a:solidFill>
                  <a:schemeClr val="tx1">
                    <a:lumMod val="85000"/>
                    <a:lumOff val="15000"/>
                  </a:schemeClr>
                </a:solidFill>
              </a:rPr>
              <a:t/>
            </a:r>
            <a:br>
              <a:rPr lang="en-GB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endParaRPr lang="es-ES" dirty="0"/>
          </a:p>
        </p:txBody>
      </p:sp>
      <p:sp>
        <p:nvSpPr>
          <p:cNvPr id="9" name="8 Marcador de contenido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lvl="1" indent="0" algn="ctr">
              <a:buNone/>
            </a:pPr>
            <a:endParaRPr lang="es-ES" sz="3200" b="1" dirty="0"/>
          </a:p>
          <a:p>
            <a:pPr marL="457200" lvl="1" indent="0" algn="ctr">
              <a:buNone/>
            </a:pPr>
            <a:endParaRPr lang="es-ES" sz="3200" b="1" dirty="0" smtClean="0"/>
          </a:p>
          <a:p>
            <a:pPr marL="457200" lvl="1" indent="0" algn="ctr">
              <a:buNone/>
            </a:pPr>
            <a:endParaRPr lang="es-ES" sz="3200" b="1" dirty="0"/>
          </a:p>
          <a:p>
            <a:pPr marL="457200" lvl="1" indent="0" algn="ctr">
              <a:buNone/>
            </a:pPr>
            <a:endParaRPr lang="es-ES" sz="3200" b="1" dirty="0" smtClean="0"/>
          </a:p>
          <a:p>
            <a:pPr marL="457200" lvl="1" indent="0" algn="ctr">
              <a:buNone/>
            </a:pPr>
            <a:endParaRPr lang="es-ES" sz="3200" b="1" dirty="0"/>
          </a:p>
          <a:p>
            <a:pPr marL="457200" lvl="1" indent="0" algn="ctr">
              <a:buNone/>
            </a:pPr>
            <a:endParaRPr lang="es-ES" sz="3200" b="1" dirty="0" smtClean="0"/>
          </a:p>
          <a:p>
            <a:pPr marL="457200" lvl="1" indent="0" algn="ctr">
              <a:buNone/>
            </a:pPr>
            <a:endParaRPr lang="es-ES" sz="3200" b="1" dirty="0" smtClean="0"/>
          </a:p>
        </p:txBody>
      </p:sp>
      <p:pic>
        <p:nvPicPr>
          <p:cNvPr id="10" name="9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1437" y="2046703"/>
            <a:ext cx="2160301" cy="2160301"/>
          </a:xfrm>
          <a:prstGeom prst="rect">
            <a:avLst/>
          </a:prstGeom>
        </p:spPr>
      </p:pic>
      <p:sp>
        <p:nvSpPr>
          <p:cNvPr id="11" name="10 Elipse"/>
          <p:cNvSpPr/>
          <p:nvPr/>
        </p:nvSpPr>
        <p:spPr>
          <a:xfrm>
            <a:off x="560390" y="1052670"/>
            <a:ext cx="3960550" cy="1346459"/>
          </a:xfrm>
          <a:prstGeom prst="ellipse">
            <a:avLst/>
          </a:prstGeom>
          <a:solidFill>
            <a:srgbClr val="FC815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 fontAlgn="auto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</a:pPr>
            <a:r>
              <a:rPr lang="es-ES" sz="2400" b="1" dirty="0">
                <a:solidFill>
                  <a:prstClr val="black"/>
                </a:solidFill>
                <a:latin typeface="Optane" pitchFamily="2" charset="0"/>
              </a:rPr>
              <a:t>Do you have any question</a:t>
            </a:r>
            <a:r>
              <a:rPr lang="es-ES" sz="2400" b="1" dirty="0" smtClean="0">
                <a:solidFill>
                  <a:prstClr val="black"/>
                </a:solidFill>
                <a:latin typeface="Optane" pitchFamily="2" charset="0"/>
              </a:rPr>
              <a:t>?</a:t>
            </a:r>
          </a:p>
          <a:p>
            <a:pPr marL="0" lvl="1" algn="ctr" fontAlgn="auto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</a:pPr>
            <a:r>
              <a:rPr lang="zh-CN" altLang="en-US" sz="2400" b="1" dirty="0" smtClean="0">
                <a:solidFill>
                  <a:prstClr val="black"/>
                </a:solidFill>
                <a:latin typeface="Optane" pitchFamily="2" charset="0"/>
              </a:rPr>
              <a:t>有问题吗？</a:t>
            </a:r>
            <a:endParaRPr lang="es-ES" sz="2400" b="1" dirty="0" smtClean="0">
              <a:solidFill>
                <a:prstClr val="black"/>
              </a:solidFill>
              <a:latin typeface="Optane" pitchFamily="2" charset="0"/>
            </a:endParaRPr>
          </a:p>
        </p:txBody>
      </p:sp>
      <p:sp>
        <p:nvSpPr>
          <p:cNvPr id="12" name="11 Elipse"/>
          <p:cNvSpPr/>
          <p:nvPr/>
        </p:nvSpPr>
        <p:spPr>
          <a:xfrm>
            <a:off x="5673100" y="4760110"/>
            <a:ext cx="3960550" cy="1346459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 fontAlgn="auto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</a:pPr>
            <a:r>
              <a:rPr lang="es-ES" sz="2400" b="1" dirty="0">
                <a:solidFill>
                  <a:prstClr val="black"/>
                </a:solidFill>
                <a:latin typeface="Optane" pitchFamily="2" charset="0"/>
              </a:rPr>
              <a:t>Don’t hesitate to ask</a:t>
            </a:r>
            <a:r>
              <a:rPr lang="es-ES" sz="2400" b="1" dirty="0" smtClean="0">
                <a:solidFill>
                  <a:prstClr val="black"/>
                </a:solidFill>
                <a:latin typeface="Optane" pitchFamily="2" charset="0"/>
              </a:rPr>
              <a:t>!</a:t>
            </a:r>
          </a:p>
          <a:p>
            <a:pPr marL="0" lvl="1" algn="ctr" fontAlgn="auto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</a:pPr>
            <a:r>
              <a:rPr lang="zh-CN" altLang="en-US" sz="2400" b="1" dirty="0" smtClean="0">
                <a:solidFill>
                  <a:prstClr val="black"/>
                </a:solidFill>
                <a:latin typeface="Optane" pitchFamily="2" charset="0"/>
              </a:rPr>
              <a:t>不用犹豫，尽管问</a:t>
            </a:r>
            <a:endParaRPr lang="es-ES" sz="2400" b="1" dirty="0">
              <a:solidFill>
                <a:prstClr val="black"/>
              </a:solidFill>
              <a:latin typeface="Optane" pitchFamily="2" charset="0"/>
            </a:endParaRPr>
          </a:p>
        </p:txBody>
      </p:sp>
      <p:pic>
        <p:nvPicPr>
          <p:cNvPr id="17162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0030" y="1069930"/>
            <a:ext cx="1009650" cy="1123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62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9180" y="1200958"/>
            <a:ext cx="1009650" cy="1123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62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340" y="4897410"/>
            <a:ext cx="1009650" cy="1123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622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350" y="2305050"/>
            <a:ext cx="1009650" cy="1123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62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6010" y="2953140"/>
            <a:ext cx="1009650" cy="1123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6231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5110" y="2132820"/>
            <a:ext cx="1009650" cy="1123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6232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7920" y="1728970"/>
            <a:ext cx="1009650" cy="1123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6233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8480" y="2809120"/>
            <a:ext cx="1009650" cy="1123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6234" name="Picture 1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370" y="3601230"/>
            <a:ext cx="1009650" cy="1123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6235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4510" y="4033290"/>
            <a:ext cx="1009650" cy="1123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6236" name="Picture 1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6265" y="908650"/>
            <a:ext cx="1009650" cy="1123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6237" name="Picture 1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750" y="3933070"/>
            <a:ext cx="1009650" cy="1123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6238" name="Picture 1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1365" y="3529220"/>
            <a:ext cx="1009650" cy="1123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14 Flecha derecha"/>
          <p:cNvSpPr/>
          <p:nvPr/>
        </p:nvSpPr>
        <p:spPr>
          <a:xfrm rot="2673590">
            <a:off x="2810242" y="3595548"/>
            <a:ext cx="3140712" cy="59596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30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9180" y="3529220"/>
            <a:ext cx="1009650" cy="1123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4610" y="2852920"/>
            <a:ext cx="1009650" cy="1123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1790" y="2305050"/>
            <a:ext cx="1009650" cy="1123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6163" y="836640"/>
            <a:ext cx="1009650" cy="1123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4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3150" y="4825400"/>
            <a:ext cx="1009650" cy="1123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6115" y="5085230"/>
            <a:ext cx="1009650" cy="1123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6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1015" y="5301260"/>
            <a:ext cx="1009650" cy="1123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/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it-IT" dirty="0" smtClean="0"/>
              <a:t>INTRODUCTION: THE INTERNATIONAL CONTEXT </a:t>
            </a:r>
            <a:r>
              <a:rPr lang="zh-CN" altLang="it-IT" dirty="0" smtClean="0"/>
              <a:t>介绍：国际背景</a:t>
            </a:r>
          </a:p>
        </p:txBody>
      </p:sp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801" y="1196691"/>
            <a:ext cx="9085829" cy="50294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INTRODUCTION: COORDINATION CONCEPT</a:t>
            </a:r>
            <a:br>
              <a:rPr lang="es-ES" dirty="0" smtClean="0"/>
            </a:br>
            <a:r>
              <a:rPr lang="zh-CN" altLang="es-ES" dirty="0" smtClean="0"/>
              <a:t>介绍：协调理念</a:t>
            </a:r>
          </a:p>
        </p:txBody>
      </p:sp>
      <p:pic>
        <p:nvPicPr>
          <p:cNvPr id="171520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04411" y="890769"/>
            <a:ext cx="8569190" cy="54214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REGULATIONS (EU) nº 883/2004 and nº 987/2009</a:t>
            </a:r>
            <a:br>
              <a:rPr lang="es-ES" dirty="0" smtClean="0"/>
            </a:br>
            <a:r>
              <a:rPr lang="es-ES" altLang="zh-CN" dirty="0"/>
              <a:t>nº </a:t>
            </a:r>
            <a:r>
              <a:rPr lang="es-ES" altLang="zh-CN" dirty="0" smtClean="0"/>
              <a:t> 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883/2004 </a:t>
            </a:r>
            <a:r>
              <a:rPr lang="zh-CN" alt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和</a:t>
            </a:r>
            <a:r>
              <a:rPr lang="es-ES" altLang="zh-CN" dirty="0"/>
              <a:t>nº </a:t>
            </a:r>
            <a:r>
              <a:rPr lang="es-ES" altLang="zh-CN" dirty="0" smtClean="0"/>
              <a:t> 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987/2009</a:t>
            </a:r>
            <a:r>
              <a:rPr lang="zh-CN" alt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规定</a:t>
            </a:r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4207169"/>
              </p:ext>
            </p:extLst>
          </p:nvPr>
        </p:nvGraphicFramePr>
        <p:xfrm>
          <a:off x="415925" y="981075"/>
          <a:ext cx="8994775" cy="51450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REGULATIONS (EU) nº 883/04 and nº 987/09: GENERAL PRINCIPLES (1) </a:t>
            </a:r>
            <a:br>
              <a:rPr lang="es-ES" dirty="0" smtClean="0"/>
            </a:br>
            <a:r>
              <a:rPr lang="es-ES" altLang="zh-CN" dirty="0"/>
              <a:t>nº </a:t>
            </a:r>
            <a:r>
              <a:rPr lang="es-ES" altLang="zh-CN" dirty="0" smtClean="0"/>
              <a:t> 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883/2004 </a:t>
            </a:r>
            <a:r>
              <a:rPr lang="zh-CN" alt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和</a:t>
            </a:r>
            <a:r>
              <a:rPr lang="es-ES" altLang="zh-CN" dirty="0"/>
              <a:t>nº </a:t>
            </a:r>
            <a:r>
              <a:rPr lang="es-ES" altLang="zh-CN" dirty="0" smtClean="0"/>
              <a:t> 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987/2009</a:t>
            </a:r>
            <a:r>
              <a:rPr lang="zh-CN" alt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规定：总原则</a:t>
            </a:r>
            <a:r>
              <a:rPr lang="es-ES" dirty="0" smtClean="0">
                <a:sym typeface="+mn-ea"/>
              </a:rPr>
              <a:t>(1) </a:t>
            </a:r>
            <a:r>
              <a:rPr lang="zh-CN" alt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/>
            </a:r>
            <a:br>
              <a:rPr lang="zh-CN" alt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</a:b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s-ES" dirty="0" smtClean="0"/>
          </a:p>
          <a:p>
            <a:pPr marL="0" indent="0">
              <a:buNone/>
            </a:pPr>
            <a:endParaRPr lang="es-ES" dirty="0"/>
          </a:p>
        </p:txBody>
      </p:sp>
      <p:pic>
        <p:nvPicPr>
          <p:cNvPr id="17162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420" y="2327120"/>
            <a:ext cx="2017713" cy="1298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5 Igual que"/>
          <p:cNvSpPr/>
          <p:nvPr/>
        </p:nvSpPr>
        <p:spPr>
          <a:xfrm>
            <a:off x="2864710" y="2625892"/>
            <a:ext cx="792088" cy="720080"/>
          </a:xfrm>
          <a:prstGeom prst="mathEqual">
            <a:avLst>
              <a:gd name="adj1" fmla="val 23520"/>
              <a:gd name="adj2" fmla="val 808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/>
              </a:solidFill>
            </a:endParaRPr>
          </a:p>
        </p:txBody>
      </p:sp>
      <p:sp>
        <p:nvSpPr>
          <p:cNvPr id="5" name="4 Rectángulo redondeado"/>
          <p:cNvSpPr/>
          <p:nvPr/>
        </p:nvSpPr>
        <p:spPr>
          <a:xfrm>
            <a:off x="1147610" y="996640"/>
            <a:ext cx="7777080" cy="914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200" b="1" dirty="0" smtClean="0">
                <a:latin typeface="Optane"/>
              </a:rPr>
              <a:t>EQUAL TREATMENT (ART. 4) </a:t>
            </a:r>
          </a:p>
          <a:p>
            <a:pPr algn="ctr"/>
            <a:r>
              <a:rPr lang="zh-CN" altLang="es-ES" sz="3200" b="1" dirty="0" smtClean="0">
                <a:latin typeface="Optane"/>
              </a:rPr>
              <a:t>平等对待（第</a:t>
            </a:r>
            <a:r>
              <a:rPr lang="en-US" altLang="zh-CN" sz="3200" b="1" dirty="0" smtClean="0">
                <a:latin typeface="Optane"/>
              </a:rPr>
              <a:t>4</a:t>
            </a:r>
            <a:r>
              <a:rPr lang="zh-CN" altLang="en-US" sz="3200" b="1" dirty="0" smtClean="0">
                <a:latin typeface="Optane"/>
              </a:rPr>
              <a:t>条</a:t>
            </a:r>
            <a:r>
              <a:rPr lang="zh-CN" altLang="es-ES" sz="3200" b="1" dirty="0" smtClean="0">
                <a:latin typeface="Optane"/>
              </a:rPr>
              <a:t>）</a:t>
            </a:r>
          </a:p>
        </p:txBody>
      </p:sp>
      <p:pic>
        <p:nvPicPr>
          <p:cNvPr id="171622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2850" y="2327120"/>
            <a:ext cx="1840588" cy="1298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9 Igual que"/>
          <p:cNvSpPr/>
          <p:nvPr/>
        </p:nvSpPr>
        <p:spPr>
          <a:xfrm>
            <a:off x="5961140" y="2570180"/>
            <a:ext cx="792088" cy="720080"/>
          </a:xfrm>
          <a:prstGeom prst="mathEqual">
            <a:avLst>
              <a:gd name="adj1" fmla="val 23520"/>
              <a:gd name="adj2" fmla="val 808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/>
              </a:solidFill>
            </a:endParaRPr>
          </a:p>
        </p:txBody>
      </p:sp>
      <p:pic>
        <p:nvPicPr>
          <p:cNvPr id="171622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738" y="2346170"/>
            <a:ext cx="1952802" cy="1279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12 Igual que"/>
          <p:cNvSpPr/>
          <p:nvPr/>
        </p:nvSpPr>
        <p:spPr>
          <a:xfrm>
            <a:off x="1295688" y="3875212"/>
            <a:ext cx="792088" cy="720080"/>
          </a:xfrm>
          <a:prstGeom prst="mathEqual">
            <a:avLst>
              <a:gd name="adj1" fmla="val 23520"/>
              <a:gd name="adj2" fmla="val 808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/>
              </a:solidFill>
            </a:endParaRPr>
          </a:p>
        </p:txBody>
      </p:sp>
      <p:pic>
        <p:nvPicPr>
          <p:cNvPr id="1716231" name="Picture 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390" y="4634615"/>
            <a:ext cx="2261503" cy="14587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6232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2850" y="4634615"/>
            <a:ext cx="1953772" cy="1288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16 Igual que"/>
          <p:cNvSpPr/>
          <p:nvPr/>
        </p:nvSpPr>
        <p:spPr>
          <a:xfrm>
            <a:off x="2864710" y="4835438"/>
            <a:ext cx="792088" cy="720080"/>
          </a:xfrm>
          <a:prstGeom prst="mathEqual">
            <a:avLst>
              <a:gd name="adj1" fmla="val 23520"/>
              <a:gd name="adj2" fmla="val 808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/>
              </a:solidFill>
            </a:endParaRPr>
          </a:p>
        </p:txBody>
      </p:sp>
      <p:pic>
        <p:nvPicPr>
          <p:cNvPr id="1716233" name="Picture 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738" y="4631592"/>
            <a:ext cx="1952802" cy="1271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18 Igual que"/>
          <p:cNvSpPr/>
          <p:nvPr/>
        </p:nvSpPr>
        <p:spPr>
          <a:xfrm>
            <a:off x="5961140" y="4835438"/>
            <a:ext cx="792088" cy="720080"/>
          </a:xfrm>
          <a:prstGeom prst="mathEqual">
            <a:avLst>
              <a:gd name="adj1" fmla="val 23520"/>
              <a:gd name="adj2" fmla="val 808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/>
              </a:solidFill>
            </a:endParaRPr>
          </a:p>
        </p:txBody>
      </p:sp>
      <p:sp>
        <p:nvSpPr>
          <p:cNvPr id="20" name="19 Igual que"/>
          <p:cNvSpPr/>
          <p:nvPr/>
        </p:nvSpPr>
        <p:spPr>
          <a:xfrm>
            <a:off x="7469095" y="3875212"/>
            <a:ext cx="792088" cy="720080"/>
          </a:xfrm>
          <a:prstGeom prst="mathEqual">
            <a:avLst>
              <a:gd name="adj1" fmla="val 23520"/>
              <a:gd name="adj2" fmla="val 808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/>
              </a:solidFill>
            </a:endParaRPr>
          </a:p>
        </p:txBody>
      </p:sp>
      <p:sp>
        <p:nvSpPr>
          <p:cNvPr id="21" name="20 Igual que"/>
          <p:cNvSpPr/>
          <p:nvPr/>
        </p:nvSpPr>
        <p:spPr>
          <a:xfrm>
            <a:off x="4453692" y="3875212"/>
            <a:ext cx="792088" cy="720080"/>
          </a:xfrm>
          <a:prstGeom prst="mathEqual">
            <a:avLst>
              <a:gd name="adj1" fmla="val 23520"/>
              <a:gd name="adj2" fmla="val 808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/>
              <a:t>REGULATIONS (EU) nº 883/04 and nº 987/09: GENERAL </a:t>
            </a:r>
            <a:r>
              <a:rPr lang="es-ES" dirty="0" smtClean="0"/>
              <a:t>PRINCIPLES (2)</a:t>
            </a:r>
            <a:br>
              <a:rPr lang="es-ES" dirty="0" smtClean="0"/>
            </a:br>
            <a:r>
              <a:rPr lang="es-ES" altLang="zh-CN" dirty="0"/>
              <a:t>nº </a:t>
            </a:r>
            <a:r>
              <a:rPr lang="es-ES" altLang="zh-CN" dirty="0" smtClean="0"/>
              <a:t> 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883/2004 </a:t>
            </a:r>
            <a:r>
              <a:rPr lang="zh-CN" alt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和</a:t>
            </a:r>
            <a:r>
              <a:rPr lang="es-ES" altLang="zh-CN" dirty="0"/>
              <a:t>nº </a:t>
            </a:r>
            <a:r>
              <a:rPr lang="es-ES" altLang="zh-CN" dirty="0" smtClean="0"/>
              <a:t> 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987/2009</a:t>
            </a:r>
            <a:r>
              <a:rPr lang="zh-CN" alt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规定：总原则</a:t>
            </a:r>
            <a:r>
              <a:rPr lang="es-ES" dirty="0" smtClean="0">
                <a:sym typeface="+mn-ea"/>
              </a:rPr>
              <a:t>(</a:t>
            </a:r>
            <a:r>
              <a:rPr lang="en-US" altLang="es-ES" dirty="0" smtClean="0">
                <a:sym typeface="+mn-ea"/>
              </a:rPr>
              <a:t>2</a:t>
            </a:r>
            <a:r>
              <a:rPr lang="es-ES" dirty="0" smtClean="0">
                <a:sym typeface="+mn-ea"/>
              </a:rPr>
              <a:t>) </a:t>
            </a:r>
            <a:endParaRPr lang="es-ES" dirty="0"/>
          </a:p>
        </p:txBody>
      </p:sp>
      <p:graphicFrame>
        <p:nvGraphicFramePr>
          <p:cNvPr id="5" name="4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39498634"/>
              </p:ext>
            </p:extLst>
          </p:nvPr>
        </p:nvGraphicFramePr>
        <p:xfrm>
          <a:off x="416560" y="836005"/>
          <a:ext cx="8994775" cy="52895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5 Flecha derecha"/>
          <p:cNvSpPr/>
          <p:nvPr/>
        </p:nvSpPr>
        <p:spPr>
          <a:xfrm rot="1784489">
            <a:off x="2632439" y="4678092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6 Flecha derecha"/>
          <p:cNvSpPr/>
          <p:nvPr/>
        </p:nvSpPr>
        <p:spPr>
          <a:xfrm rot="8587684">
            <a:off x="6440746" y="4612167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7 Igual que"/>
          <p:cNvSpPr/>
          <p:nvPr/>
        </p:nvSpPr>
        <p:spPr>
          <a:xfrm>
            <a:off x="4448930" y="3645030"/>
            <a:ext cx="1080150" cy="792110"/>
          </a:xfrm>
          <a:prstGeom prst="mathEqual">
            <a:avLst>
              <a:gd name="adj1" fmla="val 23520"/>
              <a:gd name="adj2" fmla="val 808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/>
              </a:solidFill>
            </a:endParaRPr>
          </a:p>
        </p:txBody>
      </p:sp>
      <p:pic>
        <p:nvPicPr>
          <p:cNvPr id="3" name="2 Imagen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380" y="3531497"/>
            <a:ext cx="1755046" cy="1755046"/>
          </a:xfrm>
          <a:prstGeom prst="rect">
            <a:avLst/>
          </a:prstGeom>
        </p:spPr>
      </p:pic>
      <p:pic>
        <p:nvPicPr>
          <p:cNvPr id="4" name="3 Imagen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9430" y="3531497"/>
            <a:ext cx="1703647" cy="1205952"/>
          </a:xfrm>
          <a:prstGeom prst="rect">
            <a:avLst/>
          </a:prstGeom>
        </p:spPr>
      </p:pic>
      <p:pic>
        <p:nvPicPr>
          <p:cNvPr id="9" name="8 Imagen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5844" y="5836350"/>
            <a:ext cx="506321" cy="504070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/>
              <a:t>REGULATIONS (EU) nº 883/04 and nº 987/09: GENERAL </a:t>
            </a:r>
            <a:r>
              <a:rPr lang="es-ES" dirty="0" smtClean="0"/>
              <a:t>PRINCIPLES (3)</a:t>
            </a:r>
            <a:br>
              <a:rPr lang="es-ES" dirty="0" smtClean="0"/>
            </a:br>
            <a:r>
              <a:rPr lang="es-ES" altLang="zh-CN" dirty="0"/>
              <a:t>nº </a:t>
            </a:r>
            <a:r>
              <a:rPr lang="es-ES" altLang="zh-CN" dirty="0" smtClean="0"/>
              <a:t> 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883/2004 </a:t>
            </a:r>
            <a:r>
              <a:rPr lang="zh-CN" alt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和</a:t>
            </a:r>
            <a:r>
              <a:rPr lang="es-ES" altLang="zh-CN" dirty="0"/>
              <a:t>nº </a:t>
            </a:r>
            <a:r>
              <a:rPr lang="es-ES" altLang="zh-CN" dirty="0" smtClean="0"/>
              <a:t> 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987/2009</a:t>
            </a:r>
            <a:r>
              <a:rPr lang="zh-CN" alt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规定：总原则</a:t>
            </a:r>
            <a:r>
              <a:rPr lang="es-ES" dirty="0" smtClean="0">
                <a:sym typeface="+mn-ea"/>
              </a:rPr>
              <a:t>(</a:t>
            </a:r>
            <a:r>
              <a:rPr lang="en-US" altLang="es-ES" dirty="0" smtClean="0">
                <a:sym typeface="+mn-ea"/>
              </a:rPr>
              <a:t>3</a:t>
            </a:r>
            <a:r>
              <a:rPr lang="es-ES" dirty="0" smtClean="0">
                <a:sym typeface="+mn-ea"/>
              </a:rPr>
              <a:t>) </a:t>
            </a:r>
            <a:endParaRPr lang="es-ES" dirty="0"/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21588151"/>
              </p:ext>
            </p:extLst>
          </p:nvPr>
        </p:nvGraphicFramePr>
        <p:xfrm>
          <a:off x="415925" y="981075"/>
          <a:ext cx="8994775" cy="51450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4 Cruz"/>
          <p:cNvSpPr/>
          <p:nvPr/>
        </p:nvSpPr>
        <p:spPr>
          <a:xfrm>
            <a:off x="2000590" y="3573020"/>
            <a:ext cx="914400" cy="914400"/>
          </a:xfrm>
          <a:prstGeom prst="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71827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5210" y="2492870"/>
            <a:ext cx="2376330" cy="25286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5 Rectángulo redondeado"/>
          <p:cNvSpPr/>
          <p:nvPr/>
        </p:nvSpPr>
        <p:spPr>
          <a:xfrm>
            <a:off x="992450" y="950290"/>
            <a:ext cx="7705070" cy="914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b="1" dirty="0" smtClean="0">
                <a:latin typeface="Optane"/>
              </a:rPr>
              <a:t>AGGREGATION OF PERIODS (ART. 6) </a:t>
            </a:r>
            <a:r>
              <a:rPr lang="zh-CN" altLang="es-ES" sz="3600" b="1" dirty="0" smtClean="0">
                <a:latin typeface="Optane"/>
              </a:rPr>
              <a:t>时期的累加（第</a:t>
            </a:r>
            <a:r>
              <a:rPr lang="en-US" altLang="zh-CN" sz="3600" b="1" dirty="0" smtClean="0">
                <a:latin typeface="Optane"/>
              </a:rPr>
              <a:t>6</a:t>
            </a:r>
            <a:r>
              <a:rPr lang="zh-CN" altLang="en-US" sz="3600" b="1" dirty="0" smtClean="0">
                <a:latin typeface="Optane"/>
              </a:rPr>
              <a:t>条</a:t>
            </a:r>
            <a:r>
              <a:rPr lang="zh-CN" altLang="es-ES" sz="3600" b="1" dirty="0" smtClean="0">
                <a:latin typeface="Optane"/>
              </a:rPr>
              <a:t>）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/>
              <a:t>REGULATIONS (EU) nº 883/04 and nº 987/09: GENERAL </a:t>
            </a:r>
            <a:r>
              <a:rPr lang="es-ES" dirty="0" smtClean="0"/>
              <a:t>PRINCIPLES (4)</a:t>
            </a:r>
            <a:br>
              <a:rPr lang="es-ES" dirty="0" smtClean="0"/>
            </a:br>
            <a:r>
              <a:rPr lang="es-ES" altLang="zh-CN" dirty="0"/>
              <a:t>nº </a:t>
            </a:r>
            <a:r>
              <a:rPr lang="es-ES" altLang="zh-CN" dirty="0" smtClean="0"/>
              <a:t> 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883/2004 </a:t>
            </a:r>
            <a:r>
              <a:rPr lang="zh-CN" alt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和</a:t>
            </a:r>
            <a:r>
              <a:rPr lang="es-ES" altLang="zh-CN" dirty="0" smtClean="0"/>
              <a:t>nº 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 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  <a:sym typeface="+mn-ea"/>
              </a:rPr>
              <a:t>987/2009</a:t>
            </a:r>
            <a:r>
              <a:rPr lang="zh-CN" alt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宋体" charset="0"/>
                <a:cs typeface="Verdana" pitchFamily="34" charset="0"/>
                <a:sym typeface="+mn-ea"/>
              </a:rPr>
              <a:t>规定：总原则</a:t>
            </a:r>
            <a:r>
              <a:rPr lang="es-ES" dirty="0" smtClean="0">
                <a:sym typeface="+mn-ea"/>
              </a:rPr>
              <a:t>(</a:t>
            </a:r>
            <a:r>
              <a:rPr lang="en-US" altLang="es-ES" dirty="0" smtClean="0">
                <a:sym typeface="+mn-ea"/>
              </a:rPr>
              <a:t>4</a:t>
            </a:r>
            <a:r>
              <a:rPr lang="es-ES" dirty="0" smtClean="0">
                <a:sym typeface="+mn-ea"/>
              </a:rPr>
              <a:t>) 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dirty="0"/>
              <a:t>España</a:t>
            </a:r>
          </a:p>
          <a:p>
            <a:endParaRPr lang="es-ES" dirty="0"/>
          </a:p>
        </p:txBody>
      </p:sp>
      <p:sp>
        <p:nvSpPr>
          <p:cNvPr id="4" name="3 Rectángulo redondeado"/>
          <p:cNvSpPr/>
          <p:nvPr/>
        </p:nvSpPr>
        <p:spPr>
          <a:xfrm>
            <a:off x="848360" y="1052830"/>
            <a:ext cx="8404225" cy="914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600" b="1" dirty="0" smtClean="0">
                <a:latin typeface="Optane"/>
              </a:rPr>
              <a:t>EXPORT OF BENEFITS (ART. 7) </a:t>
            </a:r>
          </a:p>
          <a:p>
            <a:pPr algn="ctr"/>
            <a:r>
              <a:rPr lang="zh-CN" altLang="es-ES" sz="3600" b="1" dirty="0" smtClean="0">
                <a:latin typeface="Optane"/>
              </a:rPr>
              <a:t>福利输出（第</a:t>
            </a:r>
            <a:r>
              <a:rPr lang="en-US" altLang="zh-CN" sz="3600" b="1" dirty="0" smtClean="0">
                <a:latin typeface="Optane"/>
              </a:rPr>
              <a:t>7</a:t>
            </a:r>
            <a:r>
              <a:rPr lang="zh-CN" altLang="en-US" sz="3600" b="1" dirty="0" smtClean="0">
                <a:latin typeface="Optane"/>
              </a:rPr>
              <a:t>条</a:t>
            </a:r>
            <a:r>
              <a:rPr lang="zh-CN" altLang="es-ES" sz="3600" b="1" dirty="0" smtClean="0">
                <a:latin typeface="Optane"/>
              </a:rPr>
              <a:t>）</a:t>
            </a:r>
          </a:p>
        </p:txBody>
      </p:sp>
      <p:pic>
        <p:nvPicPr>
          <p:cNvPr id="17192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10" y="2564880"/>
            <a:ext cx="2952410" cy="24150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930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9230" y="2113290"/>
            <a:ext cx="1975044" cy="28078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4 CuadroTexto"/>
          <p:cNvSpPr txBox="1"/>
          <p:nvPr/>
        </p:nvSpPr>
        <p:spPr>
          <a:xfrm>
            <a:off x="1136470" y="5156709"/>
            <a:ext cx="996315" cy="7404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000" b="1" dirty="0" smtClean="0">
                <a:latin typeface="Optane"/>
              </a:rPr>
              <a:t>SPAIN</a:t>
            </a:r>
          </a:p>
          <a:p>
            <a:r>
              <a:rPr lang="zh-CN" altLang="es-ES" sz="2000" b="1" dirty="0">
                <a:latin typeface="Optane"/>
              </a:rPr>
              <a:t>西班牙</a:t>
            </a:r>
          </a:p>
        </p:txBody>
      </p:sp>
      <p:sp>
        <p:nvSpPr>
          <p:cNvPr id="9" name="8 CuadroTexto"/>
          <p:cNvSpPr txBox="1"/>
          <p:nvPr/>
        </p:nvSpPr>
        <p:spPr>
          <a:xfrm>
            <a:off x="6947844" y="5157240"/>
            <a:ext cx="2636520" cy="7404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000" b="1" dirty="0" smtClean="0">
                <a:latin typeface="Optane"/>
              </a:rPr>
              <a:t>UNITED KINGDOM</a:t>
            </a:r>
          </a:p>
          <a:p>
            <a:r>
              <a:rPr lang="zh-CN" altLang="es-ES" sz="2000" b="1" dirty="0">
                <a:latin typeface="Optane"/>
              </a:rPr>
              <a:t>英国</a:t>
            </a:r>
          </a:p>
        </p:txBody>
      </p:sp>
      <p:sp>
        <p:nvSpPr>
          <p:cNvPr id="6" name="5 Flecha derecha"/>
          <p:cNvSpPr/>
          <p:nvPr/>
        </p:nvSpPr>
        <p:spPr>
          <a:xfrm>
            <a:off x="3944860" y="3284979"/>
            <a:ext cx="2088290" cy="187226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1" name="10 Imagen" descr="imagesCAW93JZV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304910" y="3857231"/>
            <a:ext cx="849049" cy="727756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pel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63000"/>
                <a:tint val="82000"/>
              </a:schemeClr>
              <a:schemeClr val="phClr">
                <a:tint val="10000"/>
                <a:satMod val="400000"/>
              </a:schemeClr>
            </a:duotone>
          </a:blip>
          <a:tile tx="0" ty="0" sx="40000" sy="40000" flip="none" algn="tl"/>
        </a:blipFill>
        <a:blipFill>
          <a:blip xmlns:r="http://schemas.openxmlformats.org/officeDocument/2006/relationships" r:embed="rId1">
            <a:duotone>
              <a:schemeClr val="phClr">
                <a:shade val="40000"/>
              </a:schemeClr>
              <a:schemeClr val="phClr">
                <a:tint val="42000"/>
              </a:schemeClr>
            </a:duotone>
          </a:blip>
          <a:tile tx="0" ty="0" sx="40000" sy="40000" flip="none" algn="tl"/>
        </a:blipFill>
      </a:fillStyleLst>
      <a:lnStyleLst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635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95000" rotWithShape="0">
              <a:srgbClr val="000000">
                <a:alpha val="50000"/>
              </a:srgbClr>
            </a:outerShdw>
            <a:softEdge rad="12700"/>
          </a:effectLst>
        </a:effectStyle>
        <a:effectStyle>
          <a:effectLst>
            <a:outerShdw blurRad="95000" rotWithShape="0">
              <a:srgbClr val="000000">
                <a:alpha val="50000"/>
              </a:srgbClr>
            </a:outerShdw>
            <a:softEdge rad="12700"/>
          </a:effectLst>
        </a:effectStyle>
        <a:effectStyle>
          <a:effectLst>
            <a:outerShdw blurRad="95000" algn="tl" rotWithShape="0">
              <a:srgbClr val="000000">
                <a:alpha val="50000"/>
              </a:srgbClr>
            </a:outerShdw>
          </a:effectLst>
          <a:scene3d>
            <a:camera prst="orthographicFront"/>
            <a:lightRig rig="soft" dir="t">
              <a:rot lat="0" lon="0" rev="18000000"/>
            </a:lightRig>
          </a:scene3d>
          <a:sp3d prstMaterial="dkEdge">
            <a:bevelT w="73660" h="44450" prst="ribl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6</TotalTime>
  <Words>1419</Words>
  <Application>Microsoft Macintosh PowerPoint</Application>
  <PresentationFormat>A4 Paper (210x297 mm)</PresentationFormat>
  <Paragraphs>261</Paragraphs>
  <Slides>25</Slides>
  <Notes>4</Notes>
  <HiddenSlides>0</HiddenSlides>
  <MMClips>0</MMClips>
  <ScaleCrop>false</ScaleCrop>
  <HeadingPairs>
    <vt:vector size="8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  <vt:variant>
        <vt:lpstr>Custom Shows</vt:lpstr>
      </vt:variant>
      <vt:variant>
        <vt:i4>1</vt:i4>
      </vt:variant>
    </vt:vector>
  </HeadingPairs>
  <TitlesOfParts>
    <vt:vector size="28" baseType="lpstr">
      <vt:lpstr>Office Theme</vt:lpstr>
      <vt:lpstr>think-cell Slide</vt:lpstr>
      <vt:lpstr>PowerPoint Presentation</vt:lpstr>
      <vt:lpstr>PowerPoint Presentation</vt:lpstr>
      <vt:lpstr>PowerPoint Presentation</vt:lpstr>
      <vt:lpstr>INTRODUCTION: COORDINATION CONCEPT 介绍：协调理念</vt:lpstr>
      <vt:lpstr>REGULATIONS (EU) nº 883/2004 and nº 987/2009 nº  883/2004 和nº  987/2009规定</vt:lpstr>
      <vt:lpstr>REGULATIONS (EU) nº 883/04 and nº 987/09: GENERAL PRINCIPLES (1)  nº  883/2004 和nº  987/2009规定：总原则(1)  </vt:lpstr>
      <vt:lpstr>REGULATIONS (EU) nº 883/04 and nº 987/09: GENERAL PRINCIPLES (2) nº  883/2004 和nº  987/2009规定：总原则(2) </vt:lpstr>
      <vt:lpstr>REGULATIONS (EU) nº 883/04 and nº 987/09: GENERAL PRINCIPLES (3) nº  883/2004 和nº  987/2009规定：总原则(3) </vt:lpstr>
      <vt:lpstr>REGULATIONS (EU) nº 883/04 and nº 987/09: GENERAL PRINCIPLES (4) nº  883/2004 和nº  987/2009规定：总原则(4) </vt:lpstr>
      <vt:lpstr>REGULATIONS (EU) nº 883/04 and nº 987/09: GENERAL PRINCIPLES (5) nº  883/2004 和nº  987/2009规定：总原则(5) </vt:lpstr>
      <vt:lpstr>REGULATIONS (EU) nº 883/04 and nº 987/09: GENERAL PRINCIPLES (6) nº  883/2004 和nº  987/2009规定：总原则(6) </vt:lpstr>
      <vt:lpstr>REGULATIONS (EU) nº 883/04 and nº 987/09: MEMBER STATES N° 883/2004 和N° 987/2009规定：成员国</vt:lpstr>
      <vt:lpstr>REGULATIONS (EU) nº 883/04 and nº 987/09: PERSONAL SCOPE N° 883/2004 和N° 987/2009规定：适用个体范围 </vt:lpstr>
      <vt:lpstr>REGULATIONS (EU) nº 883/04 and nº 987/09: MATERIAL SCOPE (1) nº  883/2004 和nº  987/2009规定：适用个体范围</vt:lpstr>
      <vt:lpstr>REGULATIONS (EU) nº 883/04 and nº 987/09: MATERIAL SCOPE (2) nº  883/2004 和nº  987/2009规定：适用个体范围 (2)</vt:lpstr>
      <vt:lpstr>REGULATIONS (EU) nº 883/04 and nº 987/09: APPLICABLE LEGISLATION nº  883/2004 和nº  987/2009规定：适用法律</vt:lpstr>
      <vt:lpstr>REGULATIONS (EU) nº 883/04 and nº 987/09: Special provisions: SICKNESS BENEFITS nº  883/2004 和nº  987/2009（欧盟）规定：特别条款：疾病补助费</vt:lpstr>
      <vt:lpstr>REGULATIONS (EU) nº 883/04 and nº 987/09: Special provisions: PENSIONS nº  883/2004 和nº  987/2009（欧盟）规定：特别条款：疾病补助费</vt:lpstr>
      <vt:lpstr>REGULATIONS (EU) nº 883/04 and nº 987/09: Special provisions: UNEMPLOYMENT nº  883/2004 和nº  987/2009（欧盟）规定：特别条款：失业</vt:lpstr>
      <vt:lpstr>REGULATIONS (EU) nº 883/04 and nº 987/09: Special provisions: FAMILY BENEFITS nº  883/2004 和nº  987/2009（欧盟）规定：特别条款：家庭福利</vt:lpstr>
      <vt:lpstr>REGULATIONS (EU) nº 883/04 and nº 987/09: Special provisions: SNCB nº  883/2004 和nº  987/2009（欧盟）规定：特别条款：SNCB </vt:lpstr>
      <vt:lpstr>INTERPRETATION: THE EUROPEAN COURT OF JUSTICE 解释：欧洲法院</vt:lpstr>
      <vt:lpstr>INTERPRETATION: THE ADMINISTRATIVE COMMISSION 解释：行政委员会</vt:lpstr>
      <vt:lpstr>Coordination of the different Social Security systems in the EU 欧盟不同社保体系之间的协调</vt:lpstr>
      <vt:lpstr>Coordination of the different Social Security systems in the EU 欧盟不同社保体系之间的协调 </vt:lpstr>
      <vt:lpstr>Custom Show 1</vt:lpstr>
    </vt:vector>
  </TitlesOfParts>
  <Company>Capgemin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NA PowerPoint Template</dc:title>
  <dc:creator>Capgemini</dc:creator>
  <cp:lastModifiedBy>JVG</cp:lastModifiedBy>
  <cp:revision>4320</cp:revision>
  <cp:lastPrinted>2015-01-26T19:32:00Z</cp:lastPrinted>
  <dcterms:created xsi:type="dcterms:W3CDTF">2009-02-10T04:14:00Z</dcterms:created>
  <dcterms:modified xsi:type="dcterms:W3CDTF">2016-06-10T23:41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5745</vt:lpwstr>
  </property>
</Properties>
</file>